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9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1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2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3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4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16.xml" ContentType="application/vnd.openxmlformats-officedocument.theme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7.xml" ContentType="application/vnd.openxmlformats-officedocument.theme+xml"/>
  <Override PartName="/ppt/tags/tag1.xml" ContentType="application/vnd.openxmlformats-officedocument.presentationml.tags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8.xml" ContentType="application/vnd.openxmlformats-officedocument.theme+xml"/>
  <Override PartName="/ppt/tags/tag2.xml" ContentType="application/vnd.openxmlformats-officedocument.presentationml.tags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19.xml" ContentType="application/vnd.openxmlformats-officedocument.theme+xml"/>
  <Override PartName="/ppt/tags/tag3.xml" ContentType="application/vnd.openxmlformats-officedocument.presentationml.tags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20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9" r:id="rId2"/>
    <p:sldMasterId id="2147483701" r:id="rId3"/>
    <p:sldMasterId id="2147483716" r:id="rId4"/>
    <p:sldMasterId id="2147483728" r:id="rId5"/>
    <p:sldMasterId id="2147483757" r:id="rId6"/>
    <p:sldMasterId id="2147483781" r:id="rId7"/>
    <p:sldMasterId id="2147483805" r:id="rId8"/>
    <p:sldMasterId id="2147483817" r:id="rId9"/>
    <p:sldMasterId id="2147483829" r:id="rId10"/>
    <p:sldMasterId id="2147483841" r:id="rId11"/>
    <p:sldMasterId id="2147483853" r:id="rId12"/>
    <p:sldMasterId id="2147483865" r:id="rId13"/>
    <p:sldMasterId id="2147483878" r:id="rId14"/>
    <p:sldMasterId id="2147483891" r:id="rId15"/>
    <p:sldMasterId id="2147483903" r:id="rId16"/>
    <p:sldMasterId id="2147483915" r:id="rId17"/>
    <p:sldMasterId id="2147483929" r:id="rId18"/>
    <p:sldMasterId id="2147483943" r:id="rId19"/>
    <p:sldMasterId id="2147483957" r:id="rId20"/>
    <p:sldMasterId id="2147483971" r:id="rId21"/>
  </p:sldMasterIdLst>
  <p:notesMasterIdLst>
    <p:notesMasterId r:id="rId46"/>
  </p:notesMasterIdLst>
  <p:sldIdLst>
    <p:sldId id="275" r:id="rId22"/>
    <p:sldId id="278" r:id="rId23"/>
    <p:sldId id="296" r:id="rId24"/>
    <p:sldId id="280" r:id="rId25"/>
    <p:sldId id="264" r:id="rId26"/>
    <p:sldId id="281" r:id="rId27"/>
    <p:sldId id="265" r:id="rId28"/>
    <p:sldId id="297" r:id="rId29"/>
    <p:sldId id="282" r:id="rId30"/>
    <p:sldId id="283" r:id="rId31"/>
    <p:sldId id="284" r:id="rId32"/>
    <p:sldId id="267" r:id="rId33"/>
    <p:sldId id="270" r:id="rId34"/>
    <p:sldId id="285" r:id="rId35"/>
    <p:sldId id="286" r:id="rId36"/>
    <p:sldId id="287" r:id="rId37"/>
    <p:sldId id="288" r:id="rId38"/>
    <p:sldId id="289" r:id="rId39"/>
    <p:sldId id="290" r:id="rId40"/>
    <p:sldId id="291" r:id="rId41"/>
    <p:sldId id="292" r:id="rId42"/>
    <p:sldId id="293" r:id="rId43"/>
    <p:sldId id="294" r:id="rId44"/>
    <p:sldId id="295" r:id="rId45"/>
  </p:sldIdLst>
  <p:sldSz cx="12192000" cy="6858000"/>
  <p:notesSz cx="67945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2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372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notesMaster" Target="notesMasters/notesMaster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2539963363989032"/>
          <c:y val="8.2251266321736682E-2"/>
          <c:w val="0.86786526414980925"/>
          <c:h val="0.854215419304443"/>
        </c:manualLayout>
      </c:layout>
      <c:pie3DChart>
        <c:varyColors val="1"/>
        <c:ser>
          <c:idx val="0"/>
          <c:order val="0"/>
          <c:explosion val="9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5FF-47C2-9712-5633598B695B}"/>
              </c:ext>
            </c:extLst>
          </c:dPt>
          <c:dPt>
            <c:idx val="1"/>
            <c:bubble3D val="0"/>
            <c:spPr>
              <a:solidFill>
                <a:srgbClr val="CB3D3D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5FF-47C2-9712-5633598B695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5FF-47C2-9712-5633598B695B}"/>
              </c:ext>
            </c:extLst>
          </c:dPt>
          <c:dPt>
            <c:idx val="3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5FF-47C2-9712-5633598B695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5FF-47C2-9712-5633598B695B}"/>
              </c:ext>
            </c:extLst>
          </c:dPt>
          <c:dPt>
            <c:idx val="5"/>
            <c:bubble3D val="0"/>
            <c:spPr>
              <a:solidFill>
                <a:srgbClr val="D86A6A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55FF-47C2-9712-5633598B695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55FF-47C2-9712-5633598B695B}"/>
              </c:ext>
            </c:extLst>
          </c:dPt>
          <c:dLbls>
            <c:dLbl>
              <c:idx val="0"/>
              <c:layout>
                <c:manualLayout>
                  <c:x val="7.0711165125818681E-2"/>
                  <c:y val="-2.2169623010108049E-2"/>
                </c:manualLayout>
              </c:layout>
              <c:tx>
                <c:rich>
                  <a:bodyPr/>
                  <a:lstStyle/>
                  <a:p>
                    <a:fld id="{8EC6F697-DA7F-4BB5-AC9C-995ED3C64CAA}" type="CATEGORYNAME">
                      <a:rPr lang="ru-RU" sz="1300"/>
                      <a:pPr/>
                      <a:t>[ИМЯ КАТЕГОРИИ]</a:t>
                    </a:fld>
                    <a:endParaRPr lang="ru-RU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5FF-47C2-9712-5633598B695B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2.7514892828373598E-2"/>
                  <c:y val="0.23049535959414139"/>
                </c:manualLayout>
              </c:layout>
              <c:tx>
                <c:rich>
                  <a:bodyPr/>
                  <a:lstStyle/>
                  <a:p>
                    <a:fld id="{79F5777D-8608-461B-A702-E61C54F9A9DB}" type="CATEGORYNAME">
                      <a:rPr lang="ru-RU" sz="1300"/>
                      <a:pPr/>
                      <a:t>[ИМЯ КАТЕГОРИИ]</a:t>
                    </a:fld>
                    <a:endParaRPr lang="ru-RU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5FF-47C2-9712-5633598B695B}"/>
                </c:ext>
                <c:ext xmlns:c15="http://schemas.microsoft.com/office/drawing/2012/chart" uri="{CE6537A1-D6FC-4f65-9D91-7224C49458BB}">
                  <c15:layout>
                    <c:manualLayout>
                      <c:w val="0.31592236466793078"/>
                      <c:h val="8.9701341988580929E-2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0.1454374755550939"/>
                  <c:y val="8.3256936342139973E-2"/>
                </c:manualLayout>
              </c:layout>
              <c:tx>
                <c:rich>
                  <a:bodyPr/>
                  <a:lstStyle/>
                  <a:p>
                    <a:fld id="{85BB2C94-5A16-4023-9D0F-1BD0D7C2502C}" type="CATEGORYNAME">
                      <a:rPr lang="ru-RU" sz="1300"/>
                      <a:pPr/>
                      <a:t>[ИМЯ КАТЕГОРИИ]</a:t>
                    </a:fld>
                    <a:endParaRPr lang="ru-RU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55FF-47C2-9712-5633598B695B}"/>
                </c:ext>
                <c:ext xmlns:c15="http://schemas.microsoft.com/office/drawing/2012/chart" uri="{CE6537A1-D6FC-4f65-9D91-7224C49458BB}">
                  <c15:layout>
                    <c:manualLayout>
                      <c:w val="0.3711849716585825"/>
                      <c:h val="8.9701341988580929E-2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1.1120286813117034E-2"/>
                  <c:y val="0.1225653626457260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300" b="1" i="0" u="none" strike="noStrike" kern="1200" spc="0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11148D8D-1DF1-46C5-9E98-57A706CD37DA}" type="CATEGORYNAME">
                      <a:rPr lang="ru-RU" sz="1300" smtClean="0"/>
                      <a:pPr>
                        <a:defRPr sz="1300" b="1" i="0" u="none" strike="noStrike" kern="1200" spc="0" baseline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defRPr>
                      </a:pPr>
                      <a:t>[ИМЯ КАТЕГОРИИ]</a:t>
                    </a:fld>
                    <a:r>
                      <a:rPr lang="ru-RU" sz="1300" dirty="0" smtClean="0"/>
                      <a:t>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55FF-47C2-9712-5633598B695B}"/>
                </c:ext>
                <c:ext xmlns:c15="http://schemas.microsoft.com/office/drawing/2012/chart" uri="{CE6537A1-D6FC-4f65-9D91-7224C49458BB}">
                  <c15:layout>
                    <c:manualLayout>
                      <c:w val="0.22949709346842781"/>
                      <c:h val="0.1089432905617557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8.8930990796176038E-8"/>
                  <c:y val="-1.586995825492807E-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300" b="1" i="0" u="none" strike="noStrike" kern="1200" spc="0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ACEDD237-7CA3-4CFB-A7EB-81E39BC5CD47}" type="CATEGORYNAME">
                      <a:rPr lang="ru-RU" sz="1200"/>
                      <a:pPr>
                        <a:defRPr sz="1300" b="1" i="0" u="none" strike="noStrike" kern="1200" spc="0" baseline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defRPr>
                      </a:pPr>
                      <a:t>[ИМЯ КАТЕГОРИИ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55FF-47C2-9712-5633598B695B}"/>
                </c:ext>
                <c:ext xmlns:c15="http://schemas.microsoft.com/office/drawing/2012/chart" uri="{CE6537A1-D6FC-4f65-9D91-7224C49458BB}">
                  <c15:layout>
                    <c:manualLayout>
                      <c:w val="0.25009902465825151"/>
                      <c:h val="0.23873077270805268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5"/>
              <c:layout>
                <c:manualLayout>
                  <c:x val="9.0358333198454661E-3"/>
                  <c:y val="-5.198324012148786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300" b="1" i="0" u="none" strike="noStrike" kern="1200" spc="0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ru-RU" sz="1300" dirty="0" smtClean="0"/>
                      <a:t>Прочие</a:t>
                    </a:r>
                  </a:p>
                  <a:p>
                    <a:pPr>
                      <a:defRPr sz="1300" b="1" i="0" u="none" strike="noStrike" kern="1200" spc="0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ru-RU" sz="1300" baseline="0" dirty="0" smtClean="0"/>
                      <a:t> (</a:t>
                    </a:r>
                    <a:r>
                      <a:rPr lang="ru-RU" sz="1300" baseline="0" dirty="0" err="1" smtClean="0"/>
                      <a:t>уч-ки</a:t>
                    </a:r>
                    <a:r>
                      <a:rPr lang="ru-RU" sz="1300" baseline="0" dirty="0" smtClean="0"/>
                      <a:t> с малой толщиной, зоны ВНЗ)</a:t>
                    </a:r>
                    <a:endParaRPr lang="ru-RU" sz="13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55FF-47C2-9712-5633598B695B}"/>
                </c:ext>
                <c:ext xmlns:c15="http://schemas.microsoft.com/office/drawing/2012/chart" uri="{CE6537A1-D6FC-4f65-9D91-7224C49458BB}">
                  <c15:layout>
                    <c:manualLayout>
                      <c:w val="0.31300293810207386"/>
                      <c:h val="0.15739347854237762"/>
                    </c:manualLayout>
                  </c15:layout>
                </c:ext>
              </c:extLst>
            </c:dLbl>
            <c:dLbl>
              <c:idx val="6"/>
              <c:layout>
                <c:manualLayout>
                  <c:x val="0.19297847140788607"/>
                  <c:y val="-7.410443721026320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300" b="1" i="0" u="none" strike="noStrike" kern="1200" spc="0" baseline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fld id="{AE6DB85A-2596-4DF6-8559-79C6FC275D32}" type="CATEGORYNAME">
                      <a:rPr lang="ru-RU" sz="1300"/>
                      <a:pPr>
                        <a:defRPr sz="1300" b="1" i="0" u="none" strike="noStrike" kern="1200" spc="0" baseline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defRPr>
                      </a:pPr>
                      <a:t>[ИМЯ КАТЕГОРИИ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55FF-47C2-9712-5633598B695B}"/>
                </c:ext>
                <c:ext xmlns:c15="http://schemas.microsoft.com/office/drawing/2012/chart" uri="{CE6537A1-D6FC-4f65-9D91-7224C49458BB}">
                  <c15:layout>
                    <c:manualLayout>
                      <c:w val="0.27540131443561638"/>
                      <c:h val="9.679879963844841E-2"/>
                    </c:manualLayout>
                  </c15:layout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1" i="0" u="none" strike="noStrike" kern="1200" spc="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2!$A$1:$A$7</c:f>
              <c:strCache>
                <c:ptCount val="7"/>
                <c:pt idx="0">
                  <c:v>Активные</c:v>
                </c:pt>
                <c:pt idx="1">
                  <c:v>ВВН (30-200 мПа*с)</c:v>
                </c:pt>
                <c:pt idx="2">
                  <c:v>СВН (больше 200 мПа*с)</c:v>
                </c:pt>
                <c:pt idx="3">
                  <c:v>Доманиковые отложения</c:v>
                </c:pt>
                <c:pt idx="4">
                  <c:v>Малопроницаемые карбонатные породы</c:v>
                </c:pt>
                <c:pt idx="5">
                  <c:v>Прочие </c:v>
                </c:pt>
                <c:pt idx="6">
                  <c:v>Малопроницаемые алевролиты</c:v>
                </c:pt>
              </c:strCache>
            </c:strRef>
          </c:cat>
          <c:val>
            <c:numRef>
              <c:f>Лист2!$B$1:$B$7</c:f>
              <c:numCache>
                <c:formatCode>0</c:formatCode>
                <c:ptCount val="7"/>
                <c:pt idx="0">
                  <c:v>16.019164882562588</c:v>
                </c:pt>
                <c:pt idx="1">
                  <c:v>33.114121013977133</c:v>
                </c:pt>
                <c:pt idx="2">
                  <c:v>18.358822773422439</c:v>
                </c:pt>
                <c:pt idx="3">
                  <c:v>1.0604317584108882</c:v>
                </c:pt>
                <c:pt idx="4">
                  <c:v>16.842308186608406</c:v>
                </c:pt>
                <c:pt idx="5">
                  <c:v>11.012597916751561</c:v>
                </c:pt>
                <c:pt idx="6">
                  <c:v>3.59255346826697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55FF-47C2-9712-5633598B695B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A$3</c:f>
              <c:strCache>
                <c:ptCount val="1"/>
                <c:pt idx="0">
                  <c:v>Добыча СВН по годам, тыс.т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circle"/>
            <c:size val="7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3"/>
              <c:layout>
                <c:manualLayout>
                  <c:x val="-2.0101383938649721E-2"/>
                  <c:y val="-4.28971508389614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1259796912874988E-2"/>
                  <c:y val="-6.68731723003323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125979691287503E-2"/>
                  <c:y val="-6.95371746849291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2.125979691287503E-2"/>
                  <c:y val="-7.486517945412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2.4196328195726102E-2"/>
                  <c:y val="-8.55211889925099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2.4196328195726185E-2"/>
                  <c:y val="-8.55211889925099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3.1146897254697988E-2"/>
                  <c:y val="-7.486517945412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4.0414109834880543E-2"/>
                  <c:y val="-5.3553160377348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C$2:$N$2</c:f>
              <c:numCache>
                <c:formatCode>General</c:formatCode>
                <c:ptCount val="12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</c:numCache>
            </c:numRef>
          </c:cat>
          <c:val>
            <c:numRef>
              <c:f>Лист1!$C$3:$N$3</c:f>
              <c:numCache>
                <c:formatCode>0.0</c:formatCode>
                <c:ptCount val="12"/>
                <c:pt idx="0">
                  <c:v>1.0029999999999999</c:v>
                </c:pt>
                <c:pt idx="1">
                  <c:v>6.0010000000000003</c:v>
                </c:pt>
                <c:pt idx="2">
                  <c:v>12.702999999999999</c:v>
                </c:pt>
                <c:pt idx="3">
                  <c:v>18.420999999999999</c:v>
                </c:pt>
                <c:pt idx="4">
                  <c:v>27.15</c:v>
                </c:pt>
                <c:pt idx="5">
                  <c:v>41.506999999999998</c:v>
                </c:pt>
                <c:pt idx="6">
                  <c:v>73.281999999999996</c:v>
                </c:pt>
                <c:pt idx="7">
                  <c:v>145.61600000000001</c:v>
                </c:pt>
                <c:pt idx="8">
                  <c:v>236.88900000000001</c:v>
                </c:pt>
                <c:pt idx="9">
                  <c:v>376.42500000000001</c:v>
                </c:pt>
                <c:pt idx="10">
                  <c:v>842.67</c:v>
                </c:pt>
                <c:pt idx="11">
                  <c:v>1620.381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2434880"/>
        <c:axId val="1682445760"/>
      </c:lineChart>
      <c:lineChart>
        <c:grouping val="standard"/>
        <c:varyColors val="0"/>
        <c:ser>
          <c:idx val="2"/>
          <c:order val="1"/>
          <c:tx>
            <c:strRef>
              <c:f>Лист1!$A$8</c:f>
              <c:strCache>
                <c:ptCount val="1"/>
                <c:pt idx="0">
                  <c:v>ПНО накопленное, д.ед.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0000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C$2:$N$2</c:f>
              <c:numCache>
                <c:formatCode>General</c:formatCode>
                <c:ptCount val="12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</c:numCache>
            </c:numRef>
          </c:cat>
          <c:val>
            <c:numRef>
              <c:f>Лист1!$C$8:$N$8</c:f>
              <c:numCache>
                <c:formatCode>0.0</c:formatCode>
                <c:ptCount val="12"/>
                <c:pt idx="0">
                  <c:v>3.4374541003671975</c:v>
                </c:pt>
                <c:pt idx="1">
                  <c:v>4.4025381717231804</c:v>
                </c:pt>
                <c:pt idx="2">
                  <c:v>4.4890078546667249</c:v>
                </c:pt>
                <c:pt idx="3">
                  <c:v>4.1720698859500116</c:v>
                </c:pt>
                <c:pt idx="4">
                  <c:v>3.7409888823873607</c:v>
                </c:pt>
                <c:pt idx="5">
                  <c:v>3.5424649803853754</c:v>
                </c:pt>
                <c:pt idx="6">
                  <c:v>3.7715521242267225</c:v>
                </c:pt>
                <c:pt idx="7">
                  <c:v>3.6551609812480037</c:v>
                </c:pt>
                <c:pt idx="8">
                  <c:v>3.5117916606264603</c:v>
                </c:pt>
                <c:pt idx="9">
                  <c:v>4.1858835617819743</c:v>
                </c:pt>
                <c:pt idx="10">
                  <c:v>5.2621965329578568</c:v>
                </c:pt>
                <c:pt idx="11">
                  <c:v>4.7328034465644491</c:v>
                </c:pt>
              </c:numCache>
            </c:numRef>
          </c:val>
          <c:smooth val="0"/>
        </c:ser>
        <c:ser>
          <c:idx val="1"/>
          <c:order val="2"/>
          <c:tx>
            <c:strRef>
              <c:f>Лист1!$A$11</c:f>
              <c:strCache>
                <c:ptCount val="1"/>
                <c:pt idx="0">
                  <c:v>Темп отбора от ТИЗ, %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square"/>
            <c:size val="6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8525942293703294E-2"/>
                  <c:y val="2.18848844714462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1.8525942293703294E-2"/>
                  <c:y val="2.18848844714461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1.8525942293703294E-2"/>
                  <c:y val="2.98768916252365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8525942293703294E-2"/>
                  <c:y val="2.98768916252365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1.5050703371027277E-2"/>
                  <c:y val="3.78688987790268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1.5050703371027362E-2"/>
                  <c:y val="3.78688987790267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1.1575464448351428E-2"/>
                  <c:y val="3.78688987790268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1.0417051474126117E-2"/>
                  <c:y val="3.25408940098333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100" b="1">
                    <a:solidFill>
                      <a:srgbClr val="00B050"/>
                    </a:solidFill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C$2:$N$2</c:f>
              <c:numCache>
                <c:formatCode>General</c:formatCode>
                <c:ptCount val="12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</c:numCache>
            </c:numRef>
          </c:cat>
          <c:val>
            <c:numRef>
              <c:f>Лист1!$C$11:$N$11</c:f>
              <c:numCache>
                <c:formatCode>0.0</c:formatCode>
                <c:ptCount val="12"/>
                <c:pt idx="0">
                  <c:v>2.3646784467575431E-3</c:v>
                </c:pt>
                <c:pt idx="1">
                  <c:v>1.4149993324674039E-2</c:v>
                </c:pt>
                <c:pt idx="2">
                  <c:v>2.9961876501734982E-2</c:v>
                </c:pt>
                <c:pt idx="3">
                  <c:v>4.3467498718108746E-2</c:v>
                </c:pt>
                <c:pt idx="4">
                  <c:v>6.4106136149627263E-2</c:v>
                </c:pt>
                <c:pt idx="5">
                  <c:v>9.8101795142076245E-2</c:v>
                </c:pt>
                <c:pt idx="6">
                  <c:v>0.17350251797890898</c:v>
                </c:pt>
                <c:pt idx="7">
                  <c:v>0.34595326081546435</c:v>
                </c:pt>
                <c:pt idx="8">
                  <c:v>0.56598423494659322</c:v>
                </c:pt>
                <c:pt idx="9">
                  <c:v>0.90753102114254947</c:v>
                </c:pt>
                <c:pt idx="10">
                  <c:v>2.0737413434458665</c:v>
                </c:pt>
                <c:pt idx="11">
                  <c:v>4.15323952123895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2439232"/>
        <c:axId val="1682437600"/>
      </c:lineChart>
      <c:catAx>
        <c:axId val="1682434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682445760"/>
        <c:crosses val="autoZero"/>
        <c:auto val="1"/>
        <c:lblAlgn val="ctr"/>
        <c:lblOffset val="100"/>
        <c:noMultiLvlLbl val="0"/>
      </c:catAx>
      <c:valAx>
        <c:axId val="168244576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Добыча</a:t>
                </a:r>
                <a:r>
                  <a:rPr lang="ru-RU" baseline="0"/>
                  <a:t> СВН по годам, тыс.т</a:t>
                </a:r>
                <a:endParaRPr lang="ru-RU"/>
              </a:p>
            </c:rich>
          </c:tx>
          <c:layout>
            <c:manualLayout>
              <c:xMode val="edge"/>
              <c:yMode val="edge"/>
              <c:x val="8.1088908195771792E-3"/>
              <c:y val="0.27819904209186697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crossAx val="1682434880"/>
        <c:crosses val="autoZero"/>
        <c:crossBetween val="between"/>
      </c:valAx>
      <c:valAx>
        <c:axId val="1682437600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ПНО накопленное, д.ед.</a:t>
                </a:r>
              </a:p>
              <a:p>
                <a:pPr>
                  <a:defRPr/>
                </a:pPr>
                <a:r>
                  <a:rPr lang="ru-RU"/>
                  <a:t>Темп отбора от ТИЗ, %</a:t>
                </a:r>
              </a:p>
            </c:rich>
          </c:tx>
          <c:layout/>
          <c:overlay val="0"/>
        </c:title>
        <c:numFmt formatCode="0.0" sourceLinked="1"/>
        <c:majorTickMark val="out"/>
        <c:minorTickMark val="none"/>
        <c:tickLblPos val="nextTo"/>
        <c:crossAx val="1682439232"/>
        <c:crosses val="max"/>
        <c:crossBetween val="between"/>
      </c:valAx>
      <c:catAx>
        <c:axId val="16824392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82437600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50"/>
            </a:pPr>
            <a:r>
              <a:rPr lang="ru-RU" sz="1200" dirty="0"/>
              <a:t>Распределение скважин по суточному дебиту нефти</a:t>
            </a: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0.10998146811461383"/>
          <c:y val="0.13689696451558186"/>
          <c:w val="0.86734981873626327"/>
          <c:h val="0.627603503652097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табл по отчету'!$D$2</c:f>
              <c:strCache>
                <c:ptCount val="1"/>
                <c:pt idx="0">
                  <c:v>Количество скважин от фонда, %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/>
                      <a:t>138</a:t>
                    </a:r>
                  </a:p>
                  <a:p>
                    <a:r>
                      <a:rPr lang="ru-RU"/>
                      <a:t>скв.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71F-485A-B089-5ADA43297C9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/>
                      <a:t>87</a:t>
                    </a:r>
                  </a:p>
                  <a:p>
                    <a:r>
                      <a:rPr lang="ru-RU"/>
                      <a:t>скв.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71F-485A-B089-5ADA43297C9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8149658079020181E-3"/>
                  <c:y val="8.0210641924825608E-3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23</a:t>
                    </a:r>
                  </a:p>
                  <a:p>
                    <a:r>
                      <a:rPr lang="ru-RU" sz="1000" b="0" i="0" u="none" strike="noStrike" baseline="0">
                        <a:effectLst/>
                      </a:rPr>
                      <a:t>скв.</a:t>
                    </a:r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771F-485A-B089-5ADA43297C9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7.0433873768997919E-4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6</a:t>
                    </a:r>
                  </a:p>
                  <a:p>
                    <a:r>
                      <a:rPr lang="ru-RU" sz="1000" b="0" i="0" u="none" strike="noStrike" baseline="0">
                        <a:effectLst/>
                      </a:rPr>
                      <a:t>скв.</a:t>
                    </a:r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771F-485A-B089-5ADA43297C9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2.1386165533500402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1</a:t>
                    </a:r>
                  </a:p>
                  <a:p>
                    <a:r>
                      <a:rPr lang="ru-RU" sz="1000" b="0" i="0" u="none" strike="noStrike" baseline="0">
                        <a:effectLst/>
                      </a:rPr>
                      <a:t>скв.</a:t>
                    </a:r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771F-485A-B089-5ADA43297C9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табл по отчету'!$B$3:$B$8</c:f>
              <c:strCache>
                <c:ptCount val="6"/>
                <c:pt idx="0">
                  <c:v>0-20</c:v>
                </c:pt>
                <c:pt idx="1">
                  <c:v>20-40</c:v>
                </c:pt>
                <c:pt idx="2">
                  <c:v>40-60</c:v>
                </c:pt>
                <c:pt idx="3">
                  <c:v>60-80</c:v>
                </c:pt>
                <c:pt idx="4">
                  <c:v>80-100</c:v>
                </c:pt>
                <c:pt idx="5">
                  <c:v>100-120</c:v>
                </c:pt>
              </c:strCache>
            </c:strRef>
          </c:cat>
          <c:val>
            <c:numRef>
              <c:f>'табл по отчету'!$D$3:$D$7</c:f>
              <c:numCache>
                <c:formatCode>0.0</c:formatCode>
                <c:ptCount val="5"/>
                <c:pt idx="0">
                  <c:v>54.117647058823529</c:v>
                </c:pt>
                <c:pt idx="1">
                  <c:v>34.117647058823529</c:v>
                </c:pt>
                <c:pt idx="2">
                  <c:v>9.0196078431372548</c:v>
                </c:pt>
                <c:pt idx="3">
                  <c:v>2.3529411764705883</c:v>
                </c:pt>
                <c:pt idx="4">
                  <c:v>0.392156862745098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71F-485A-B089-5ADA43297C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82438688"/>
        <c:axId val="1527581168"/>
      </c:barChart>
      <c:catAx>
        <c:axId val="168243868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800"/>
                </a:pPr>
                <a:r>
                  <a:rPr lang="ru-RU" sz="800"/>
                  <a:t>Дебит нефти, т/сут</a:t>
                </a:r>
              </a:p>
            </c:rich>
          </c:tx>
          <c:layout/>
          <c:overlay val="0"/>
        </c:title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527581168"/>
        <c:crosses val="autoZero"/>
        <c:auto val="1"/>
        <c:lblAlgn val="ctr"/>
        <c:lblOffset val="100"/>
        <c:noMultiLvlLbl val="0"/>
      </c:catAx>
      <c:valAx>
        <c:axId val="152758116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800"/>
                </a:pPr>
                <a:r>
                  <a:rPr lang="ru-RU" sz="800"/>
                  <a:t>Количество скв. от фонда, %</a:t>
                </a:r>
              </a:p>
            </c:rich>
          </c:tx>
          <c:layout/>
          <c:overlay val="0"/>
        </c:title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682438688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rgbClr val="FFFFFF">
          <a:lumMod val="75000"/>
        </a:srgbClr>
      </a:solidFill>
    </a:ln>
  </c:sp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2893</cdr:x>
      <cdr:y>0.45432</cdr:y>
    </cdr:from>
    <cdr:to>
      <cdr:x>0.83866</cdr:x>
      <cdr:y>0.5126</cdr:y>
    </cdr:to>
    <cdr:sp macro="" textlink="">
      <cdr:nvSpPr>
        <cdr:cNvPr id="2" name="TextBox 2"/>
        <cdr:cNvSpPr txBox="1"/>
      </cdr:nvSpPr>
      <cdr:spPr>
        <a:xfrm xmlns:a="http://schemas.openxmlformats.org/drawingml/2006/main">
          <a:off x="4176670" y="2159167"/>
          <a:ext cx="628736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GB"/>
          </a:defPPr>
          <a:lvl1pPr algn="l" rtl="0" fontAlgn="base">
            <a:spcBef>
              <a:spcPct val="0"/>
            </a:spcBef>
            <a:spcAft>
              <a:spcPct val="0"/>
            </a:spcAft>
            <a:defRPr sz="1400" b="1"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400" b="1"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400" b="1"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400" b="1"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400" b="1"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5pPr>
          <a:lvl6pPr marL="2286000" algn="l" defTabSz="914400" rtl="0" eaLnBrk="1" latinLnBrk="0" hangingPunct="1">
            <a:defRPr sz="1400" b="1"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6pPr>
          <a:lvl7pPr marL="2743200" algn="l" defTabSz="914400" rtl="0" eaLnBrk="1" latinLnBrk="0" hangingPunct="1">
            <a:defRPr sz="1400" b="1"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7pPr>
          <a:lvl8pPr marL="3200400" algn="l" defTabSz="914400" rtl="0" eaLnBrk="1" latinLnBrk="0" hangingPunct="1">
            <a:defRPr sz="1400" b="1"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8pPr>
          <a:lvl9pPr marL="3657600" algn="l" defTabSz="914400" rtl="0" eaLnBrk="1" latinLnBrk="0" hangingPunct="1">
            <a:defRPr sz="1400" b="1"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9pPr>
        </a:lstStyle>
        <a:p xmlns:a="http://schemas.openxmlformats.org/drawingml/2006/main">
          <a:r>
            <a:rPr lang="ru-RU" sz="1200" dirty="0" smtClean="0"/>
            <a:t>33 %</a:t>
          </a:r>
          <a:endParaRPr lang="ru-RU" sz="12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6" y="2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FA0B5A-C219-4FF9-B9C6-46D863414ED0}" type="datetimeFigureOut">
              <a:rPr lang="ru-RU" smtClean="0"/>
              <a:t>16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1239838"/>
            <a:ext cx="5940425" cy="3341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67261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08982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6" y="9408982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8C8AC3-C180-49EA-825E-9741489D7A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08674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9375" y="747713"/>
            <a:ext cx="6635750" cy="37338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6369FFF-EB9A-44BF-96A9-6C8B38E33F73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8407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fld id="{F97F5D2F-3649-4569-BDF5-8457BE21671D}" type="slidenum">
              <a:rPr lang="ru-RU" altLang="ru-RU" smtClean="0">
                <a:solidFill>
                  <a:prstClr val="black"/>
                </a:solidFill>
              </a:rPr>
              <a:pPr/>
              <a:t>12</a:t>
            </a:fld>
            <a:endParaRPr lang="ru-RU" altLang="ru-RU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4254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PragmaticaITT"/>
            </a:endParaRPr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PragmaticaITT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PragmaticaITT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PragmaticaITT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PragmaticaITT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PragmaticaITT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PragmaticaITT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PragmaticaITT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PragmaticaITT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PragmaticaIT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E53304E-F004-4A40-BF59-F554F7CDDAC8}" type="slidenum">
              <a:rPr lang="ru-RU" alt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ru-RU" alt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3142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250" y="744538"/>
            <a:ext cx="6594475" cy="37099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B6C4B415-018C-4809-8F60-6D829B3F5AD3}" type="slidenum">
              <a:rPr lang="ru-RU" altLang="ru-RU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spcBef>
                  <a:spcPct val="0"/>
                </a:spcBef>
                <a:defRPr/>
              </a:pPr>
              <a:t>16</a:t>
            </a:fld>
            <a:endParaRPr lang="ru-RU" altLang="ru-RU" b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2311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250" y="744538"/>
            <a:ext cx="6594475" cy="37099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B6C4B415-018C-4809-8F60-6D829B3F5AD3}" type="slidenum">
              <a:rPr lang="ru-RU" altLang="ru-RU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spcBef>
                  <a:spcPct val="0"/>
                </a:spcBef>
                <a:defRPr/>
              </a:pPr>
              <a:t>18</a:t>
            </a:fld>
            <a:endParaRPr lang="ru-RU" altLang="ru-RU" b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8962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51769E-6A7D-4A13-9BAF-A275BF871F44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3687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51769E-6A7D-4A13-9BAF-A275BF871F44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026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2560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1pPr>
            <a:lvl2pPr marL="741836" indent="-285321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2pPr>
            <a:lvl3pPr marL="1141286" indent="-228257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3pPr>
            <a:lvl4pPr marL="1599385" indent="-228257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4pPr>
            <a:lvl5pPr marL="2055900" indent="-228257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5pPr>
            <a:lvl6pPr marL="2512414" indent="-228257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6pPr>
            <a:lvl7pPr marL="2968928" indent="-228257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7pPr>
            <a:lvl8pPr marL="3425442" indent="-228257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8pPr>
            <a:lvl9pPr marL="3881956" indent="-228257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9pPr>
          </a:lstStyle>
          <a:p>
            <a:fld id="{A4E4D631-510D-4069-9605-91A85491B668}" type="slidenum">
              <a:rPr lang="ru-RU" altLang="ru-RU" sz="1200">
                <a:solidFill>
                  <a:srgbClr val="000000"/>
                </a:solidFill>
              </a:rPr>
              <a:pPr/>
              <a:t>2</a:t>
            </a:fld>
            <a:endParaRPr lang="ru-RU" altLang="ru-RU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3764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fld id="{F97F5D2F-3649-4569-BDF5-8457BE21671D}" type="slidenum">
              <a:rPr lang="ru-RU" altLang="ru-RU" smtClean="0">
                <a:solidFill>
                  <a:prstClr val="black"/>
                </a:solidFill>
              </a:rPr>
              <a:pPr/>
              <a:t>5</a:t>
            </a:fld>
            <a:endParaRPr lang="ru-RU" altLang="ru-RU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777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fld id="{F97F5D2F-3649-4569-BDF5-8457BE21671D}" type="slidenum">
              <a:rPr lang="ru-RU" altLang="ru-RU" smtClean="0">
                <a:solidFill>
                  <a:prstClr val="black"/>
                </a:solidFill>
              </a:rPr>
              <a:pPr/>
              <a:t>6</a:t>
            </a:fld>
            <a:endParaRPr lang="ru-RU" altLang="ru-RU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0216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fld id="{F97F5D2F-3649-4569-BDF5-8457BE21671D}" type="slidenum">
              <a:rPr lang="ru-RU" altLang="ru-RU" smtClean="0">
                <a:solidFill>
                  <a:prstClr val="black"/>
                </a:solidFill>
              </a:rPr>
              <a:pPr/>
              <a:t>7</a:t>
            </a:fld>
            <a:endParaRPr lang="ru-RU" altLang="ru-RU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6324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fld id="{F97F5D2F-3649-4569-BDF5-8457BE21671D}" type="slidenum">
              <a:rPr lang="ru-RU" altLang="ru-RU" smtClean="0">
                <a:solidFill>
                  <a:prstClr val="black"/>
                </a:solidFill>
              </a:rPr>
              <a:pPr/>
              <a:t>8</a:t>
            </a:fld>
            <a:endParaRPr lang="ru-RU" altLang="ru-RU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3916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60467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37595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51769E-6A7D-4A13-9BAF-A275BF871F44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179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A127C8-66E5-4BB3-9214-5EB4190B662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866434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19C8A-1C37-43FB-93F0-D4CA1EAED48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1209360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3F15C-C01F-4D92-BE98-CFD798A0E26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033826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064E9-961C-4E60-8A02-38E8E086A8D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265733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029CF-FA1A-4F24-8BB2-4CB55EDBA3E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066935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6395A-715C-497B-B3F2-14455920017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8005764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15889"/>
            <a:ext cx="2743200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5889"/>
            <a:ext cx="802640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3C230-2512-4675-A50F-CC0524CAD6A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053504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76185" y="3789363"/>
            <a:ext cx="777663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176185" y="5445126"/>
            <a:ext cx="7776633" cy="5048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176185" y="6237288"/>
            <a:ext cx="2880783" cy="4762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40084" y="6237288"/>
            <a:ext cx="3285067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653088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0CCE0-3575-4A6D-B5A2-255098647C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894066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0C628-A0E0-4F79-AEDE-6B05E212EC6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254763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D6C482-E806-432A-BB1C-4CEFB895D13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63999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B72DCA-E393-4115-897F-DAF9A916D2D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418446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BA457A-EBFB-4189-9561-74547878237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7683099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F5179-722C-4995-9184-EBD73E6E93C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862526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3F15C-C01F-4D92-BE98-CFD798A0E26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830527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064E9-961C-4E60-8A02-38E8E086A8D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595124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029CF-FA1A-4F24-8BB2-4CB55EDBA3E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447558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6395A-715C-497B-B3F2-14455920017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290846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15889"/>
            <a:ext cx="2743200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5889"/>
            <a:ext cx="802640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3C230-2512-4675-A50F-CC0524CAD6A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022309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76185" y="3789363"/>
            <a:ext cx="777663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176185" y="5445126"/>
            <a:ext cx="7776633" cy="5048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176185" y="6237288"/>
            <a:ext cx="2880783" cy="4762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40084" y="6237288"/>
            <a:ext cx="3285067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101176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0CCE0-3575-4A6D-B5A2-255098647C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651379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0C628-A0E0-4F79-AEDE-6B05E212EC6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22374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D6C482-E806-432A-BB1C-4CEFB895D13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23355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lIns="77925" tIns="38963" rIns="77925" bIns="3896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609600" y="1600201"/>
            <a:ext cx="5392616" cy="2185988"/>
          </a:xfrm>
          <a:prstGeom prst="rect">
            <a:avLst/>
          </a:prstGeom>
        </p:spPr>
        <p:txBody>
          <a:bodyPr lIns="77925" tIns="38963" rIns="77925" bIns="38963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6189784" y="1600201"/>
            <a:ext cx="5392616" cy="2185988"/>
          </a:xfrm>
          <a:prstGeom prst="rect">
            <a:avLst/>
          </a:prstGeom>
        </p:spPr>
        <p:txBody>
          <a:bodyPr lIns="77925" tIns="38963" rIns="77925" bIns="38963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609600" y="3938591"/>
            <a:ext cx="5392616" cy="2187575"/>
          </a:xfrm>
          <a:prstGeom prst="rect">
            <a:avLst/>
          </a:prstGeom>
        </p:spPr>
        <p:txBody>
          <a:bodyPr lIns="77925" tIns="38963" rIns="77925" bIns="38963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89784" y="3938591"/>
            <a:ext cx="5392616" cy="2187575"/>
          </a:xfrm>
          <a:prstGeom prst="rect">
            <a:avLst/>
          </a:prstGeom>
        </p:spPr>
        <p:txBody>
          <a:bodyPr lIns="77925" tIns="38963" rIns="77925" bIns="38963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1"/>
            <a:ext cx="1007533" cy="98107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83EBE5F-51F1-455B-8F80-900FF4D96BC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9831974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B72DCA-E393-4115-897F-DAF9A916D2D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038096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F5179-722C-4995-9184-EBD73E6E93C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141238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3F15C-C01F-4D92-BE98-CFD798A0E26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314866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064E9-961C-4E60-8A02-38E8E086A8D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539994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029CF-FA1A-4F24-8BB2-4CB55EDBA3E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80070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6395A-715C-497B-B3F2-14455920017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744475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15889"/>
            <a:ext cx="2743200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5889"/>
            <a:ext cx="802640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3C230-2512-4675-A50F-CC0524CAD6A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169297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76185" y="3789363"/>
            <a:ext cx="777663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176185" y="5445126"/>
            <a:ext cx="7776633" cy="5048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176185" y="6237288"/>
            <a:ext cx="2880783" cy="4762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40084" y="6237288"/>
            <a:ext cx="3285067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337552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0CCE0-3575-4A6D-B5A2-255098647C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435857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0C628-A0E0-4F79-AEDE-6B05E212EC6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07494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8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5AD637E-5C13-4675-8DEF-0012B11F94EB}" type="slidenum">
              <a:rPr lang="ru-RU" altLang="ru-RU">
                <a:solidFill>
                  <a:srgbClr val="FFFFFF"/>
                </a:solidFill>
              </a:rPr>
              <a:pPr/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34261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D6C482-E806-432A-BB1C-4CEFB895D13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135846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B72DCA-E393-4115-897F-DAF9A916D2D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660996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F5179-722C-4995-9184-EBD73E6E93C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28903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3F15C-C01F-4D92-BE98-CFD798A0E26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18863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064E9-961C-4E60-8A02-38E8E086A8D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773119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029CF-FA1A-4F24-8BB2-4CB55EDBA3E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783322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6395A-715C-497B-B3F2-14455920017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967375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15889"/>
            <a:ext cx="2743200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5889"/>
            <a:ext cx="802640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3C230-2512-4675-A50F-CC0524CAD6A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374374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013565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231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48D0B15-6E14-4A3B-9394-1B8E70D7F552}" type="slidenum">
              <a:rPr lang="ru-RU" altLang="ru-RU">
                <a:solidFill>
                  <a:srgbClr val="FFFFFF"/>
                </a:solidFill>
              </a:rPr>
              <a:pPr/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17058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8865078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289928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74731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98632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601630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211124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4876629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799084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956468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4206481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1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CE1F378-4299-4AEF-8475-3CEF29B3F519}" type="slidenum">
              <a:rPr lang="ru-RU" altLang="ru-RU">
                <a:solidFill>
                  <a:srgbClr val="FFFFFF"/>
                </a:solidFill>
              </a:rPr>
              <a:pPr/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10774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3572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084609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5101474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705546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332078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21348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98831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7399310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7230440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30567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19206" y="1196981"/>
            <a:ext cx="5264151" cy="5472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686551" y="1196981"/>
            <a:ext cx="5266267" cy="5472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F54E8A3-3726-476D-8CE7-F56DBF40EAA8}" type="slidenum">
              <a:rPr lang="ru-RU" altLang="ru-RU">
                <a:solidFill>
                  <a:srgbClr val="FFFFFF"/>
                </a:solidFill>
              </a:rPr>
              <a:pPr/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81067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299821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07209782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76185" y="3789363"/>
            <a:ext cx="777663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176185" y="5445126"/>
            <a:ext cx="7776633" cy="5048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176185" y="6237288"/>
            <a:ext cx="2880783" cy="4762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40084" y="6237288"/>
            <a:ext cx="3285067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052138"/>
      </p:ext>
    </p:extLst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0CCE0-3575-4A6D-B5A2-255098647C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374413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0C628-A0E0-4F79-AEDE-6B05E212EC6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718025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D6C482-E806-432A-BB1C-4CEFB895D13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166662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B72DCA-E393-4115-897F-DAF9A916D2D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833204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F5179-722C-4995-9184-EBD73E6E93C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954906"/>
      </p:ext>
    </p:extLst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3F15C-C01F-4D92-BE98-CFD798A0E26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240922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064E9-961C-4E60-8A02-38E8E086A8D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64756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188E85F-65A1-4862-9E4F-1C558C27CA2F}" type="slidenum">
              <a:rPr lang="ru-RU" altLang="ru-RU">
                <a:solidFill>
                  <a:srgbClr val="FFFFFF"/>
                </a:solidFill>
              </a:rPr>
              <a:pPr/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33907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029CF-FA1A-4F24-8BB2-4CB55EDBA3E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309137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6395A-715C-497B-B3F2-14455920017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887955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15889"/>
            <a:ext cx="2743200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5889"/>
            <a:ext cx="802640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3C230-2512-4675-A50F-CC0524CAD6A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995032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76185" y="3789363"/>
            <a:ext cx="777663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176185" y="5445126"/>
            <a:ext cx="7776633" cy="5048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176185" y="6237288"/>
            <a:ext cx="2880783" cy="4762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40084" y="6237288"/>
            <a:ext cx="3285067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189612"/>
      </p:ext>
    </p:extLst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0CCE0-3575-4A6D-B5A2-255098647C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662578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0C628-A0E0-4F79-AEDE-6B05E212EC6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936494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D6C482-E806-432A-BB1C-4CEFB895D13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183154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B72DCA-E393-4115-897F-DAF9A916D2D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419388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F5179-722C-4995-9184-EBD73E6E93C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757457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3F15C-C01F-4D92-BE98-CFD798A0E26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62297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0F1048B-309A-4B25-B204-4C0428AEA1E5}" type="slidenum">
              <a:rPr lang="ru-RU" altLang="ru-RU">
                <a:solidFill>
                  <a:srgbClr val="FFFFFF"/>
                </a:solidFill>
              </a:rPr>
              <a:pPr/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722682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064E9-961C-4E60-8A02-38E8E086A8D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515365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029CF-FA1A-4F24-8BB2-4CB55EDBA3E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944511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6395A-715C-497B-B3F2-14455920017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781180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15889"/>
            <a:ext cx="2743200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5889"/>
            <a:ext cx="802640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3C230-2512-4675-A50F-CC0524CAD6A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039440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268760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 rot="5400000">
            <a:off x="3507652" y="-1728478"/>
            <a:ext cx="5148000" cy="112984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rgbClr val="F03C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 rot="5400000">
            <a:off x="5789543" y="-3974425"/>
            <a:ext cx="598389" cy="11284292"/>
          </a:xfrm>
          <a:prstGeom prst="rect">
            <a:avLst/>
          </a:prstGeom>
          <a:solidFill>
            <a:srgbClr val="87CDA5"/>
          </a:solidFill>
          <a:ln w="3175">
            <a:solidFill>
              <a:srgbClr val="F03C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08789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575174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15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46"/>
            </a:lvl1pPr>
            <a:lvl2pPr marL="422041" indent="0">
              <a:buNone/>
              <a:defRPr sz="1662"/>
            </a:lvl2pPr>
            <a:lvl3pPr marL="844083" indent="0">
              <a:buNone/>
              <a:defRPr sz="1477"/>
            </a:lvl3pPr>
            <a:lvl4pPr marL="1266124" indent="0">
              <a:buNone/>
              <a:defRPr sz="1292"/>
            </a:lvl4pPr>
            <a:lvl5pPr marL="1688165" indent="0">
              <a:buNone/>
              <a:defRPr sz="1292"/>
            </a:lvl5pPr>
            <a:lvl6pPr marL="2110207" indent="0">
              <a:buNone/>
              <a:defRPr sz="1292"/>
            </a:lvl6pPr>
            <a:lvl7pPr marL="2532248" indent="0">
              <a:buNone/>
              <a:defRPr sz="1292"/>
            </a:lvl7pPr>
            <a:lvl8pPr marL="2954289" indent="0">
              <a:buNone/>
              <a:defRPr sz="1292"/>
            </a:lvl8pPr>
            <a:lvl9pPr marL="3376331" indent="0">
              <a:buNone/>
              <a:defRPr sz="129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795706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966105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30630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EB41740-A317-41D0-A998-8986BACB24E7}" type="slidenum">
              <a:rPr lang="ru-RU" altLang="ru-RU">
                <a:solidFill>
                  <a:srgbClr val="FFFFFF"/>
                </a:solidFill>
              </a:rPr>
              <a:pPr/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38219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350698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2172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5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8266929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8458035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663808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673615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609600" y="274666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2"/>
            <a:ext cx="1100667" cy="9810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1C7C07D-28AB-4C08-860D-1192224DACE1}" type="slidenum">
              <a:rPr lang="ru-RU" altLang="ru-RU">
                <a:solidFill>
                  <a:srgbClr val="000000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749549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647661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 rot="5400000">
            <a:off x="3507652" y="-1728478"/>
            <a:ext cx="5148000" cy="112984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rgbClr val="F03C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 rot="5400000">
            <a:off x="5789543" y="-3974425"/>
            <a:ext cx="598389" cy="11284292"/>
          </a:xfrm>
          <a:prstGeom prst="rect">
            <a:avLst/>
          </a:prstGeom>
          <a:solidFill>
            <a:srgbClr val="87CDA5"/>
          </a:solidFill>
          <a:ln w="3175">
            <a:solidFill>
              <a:srgbClr val="F03C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04149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943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55A37B-0524-46C2-B98E-74DB4CD24F0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646411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5" y="27306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72E8198-7033-43B3-B962-F5EDBA773D45}" type="slidenum">
              <a:rPr lang="ru-RU" altLang="ru-RU">
                <a:solidFill>
                  <a:srgbClr val="FFFFFF"/>
                </a:solidFill>
              </a:rPr>
              <a:pPr/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3926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15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46"/>
            </a:lvl1pPr>
            <a:lvl2pPr marL="422041" indent="0">
              <a:buNone/>
              <a:defRPr sz="1662"/>
            </a:lvl2pPr>
            <a:lvl3pPr marL="844083" indent="0">
              <a:buNone/>
              <a:defRPr sz="1477"/>
            </a:lvl3pPr>
            <a:lvl4pPr marL="1266124" indent="0">
              <a:buNone/>
              <a:defRPr sz="1292"/>
            </a:lvl4pPr>
            <a:lvl5pPr marL="1688165" indent="0">
              <a:buNone/>
              <a:defRPr sz="1292"/>
            </a:lvl5pPr>
            <a:lvl6pPr marL="2110207" indent="0">
              <a:buNone/>
              <a:defRPr sz="1292"/>
            </a:lvl6pPr>
            <a:lvl7pPr marL="2532248" indent="0">
              <a:buNone/>
              <a:defRPr sz="1292"/>
            </a:lvl7pPr>
            <a:lvl8pPr marL="2954289" indent="0">
              <a:buNone/>
              <a:defRPr sz="1292"/>
            </a:lvl8pPr>
            <a:lvl9pPr marL="3376331" indent="0">
              <a:buNone/>
              <a:defRPr sz="129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2455379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59557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440312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854358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869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5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4312299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924788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413869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690975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609600" y="274666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2"/>
            <a:ext cx="1100667" cy="9810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1C7C07D-28AB-4C08-860D-1192224DACE1}" type="slidenum">
              <a:rPr lang="ru-RU" altLang="ru-RU">
                <a:solidFill>
                  <a:srgbClr val="000000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69533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FA9D7A2-C7B1-4D2C-99E0-155A0506BD8C}" type="slidenum">
              <a:rPr lang="ru-RU" altLang="ru-RU">
                <a:solidFill>
                  <a:srgbClr val="FFFFFF"/>
                </a:solidFill>
              </a:rPr>
              <a:pPr/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23091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540343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 rot="5400000">
            <a:off x="3507652" y="-1728478"/>
            <a:ext cx="5148000" cy="112984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rgbClr val="F03C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 rot="5400000">
            <a:off x="5789543" y="-3974425"/>
            <a:ext cx="598389" cy="11284292"/>
          </a:xfrm>
          <a:prstGeom prst="rect">
            <a:avLst/>
          </a:prstGeom>
          <a:solidFill>
            <a:srgbClr val="87CDA5"/>
          </a:solidFill>
          <a:ln w="3175">
            <a:solidFill>
              <a:srgbClr val="F03C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15859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633275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15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46"/>
            </a:lvl1pPr>
            <a:lvl2pPr marL="422041" indent="0">
              <a:buNone/>
              <a:defRPr sz="1662"/>
            </a:lvl2pPr>
            <a:lvl3pPr marL="844083" indent="0">
              <a:buNone/>
              <a:defRPr sz="1477"/>
            </a:lvl3pPr>
            <a:lvl4pPr marL="1266124" indent="0">
              <a:buNone/>
              <a:defRPr sz="1292"/>
            </a:lvl4pPr>
            <a:lvl5pPr marL="1688165" indent="0">
              <a:buNone/>
              <a:defRPr sz="1292"/>
            </a:lvl5pPr>
            <a:lvl6pPr marL="2110207" indent="0">
              <a:buNone/>
              <a:defRPr sz="1292"/>
            </a:lvl6pPr>
            <a:lvl7pPr marL="2532248" indent="0">
              <a:buNone/>
              <a:defRPr sz="1292"/>
            </a:lvl7pPr>
            <a:lvl8pPr marL="2954289" indent="0">
              <a:buNone/>
              <a:defRPr sz="1292"/>
            </a:lvl8pPr>
            <a:lvl9pPr marL="3376331" indent="0">
              <a:buNone/>
              <a:defRPr sz="129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3670076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504414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08653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254876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8556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5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5679861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849573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9C8E7AB-F193-4B2B-B616-8D422D1ABAEC}" type="slidenum">
              <a:rPr lang="ru-RU" altLang="ru-RU">
                <a:solidFill>
                  <a:srgbClr val="FFFFFF"/>
                </a:solidFill>
              </a:rPr>
              <a:pPr/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99813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632601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80214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609600" y="274666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2"/>
            <a:ext cx="1100667" cy="9810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1C7C07D-28AB-4C08-860D-1192224DACE1}" type="slidenum">
              <a:rPr lang="ru-RU" altLang="ru-RU">
                <a:solidFill>
                  <a:srgbClr val="000000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02762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76185" y="3789363"/>
            <a:ext cx="777663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176185" y="5445126"/>
            <a:ext cx="7776633" cy="5048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176185" y="6237288"/>
            <a:ext cx="2880783" cy="4762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40084" y="6237288"/>
            <a:ext cx="3285067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683980"/>
      </p:ext>
    </p:extLst>
  </p:cSld>
  <p:clrMapOvr>
    <a:masterClrMapping/>
  </p:clrMapOvr>
  <p:transition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E5E489-98C7-454F-942D-042ADD64295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143535"/>
      </p:ext>
    </p:extLst>
  </p:cSld>
  <p:clrMapOvr>
    <a:masterClrMapping/>
  </p:clrMapOvr>
  <p:transition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AAE7BC-1CC0-4E2A-AA7B-BF77DA60FAC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210018"/>
      </p:ext>
    </p:extLst>
  </p:cSld>
  <p:clrMapOvr>
    <a:masterClrMapping/>
  </p:clrMapOvr>
  <p:transition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B0D5A4-0BA1-4BD4-9DAD-E2849B825C24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345562"/>
      </p:ext>
    </p:extLst>
  </p:cSld>
  <p:clrMapOvr>
    <a:masterClrMapping/>
  </p:clrMapOvr>
  <p:transition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536EB9-C935-4B28-94A8-31A4203AB851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503837"/>
      </p:ext>
    </p:extLst>
  </p:cSld>
  <p:clrMapOvr>
    <a:masterClrMapping/>
  </p:clrMapOvr>
  <p:transition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68A681-806E-4BCC-BF85-19F837AB548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354859"/>
      </p:ext>
    </p:extLst>
  </p:cSld>
  <p:clrMapOvr>
    <a:masterClrMapping/>
  </p:clrMapOvr>
  <p:transition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5440AC-F8B4-4EC9-9477-5B405384AAC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684469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448800" y="0"/>
            <a:ext cx="2743200" cy="66690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9200" y="0"/>
            <a:ext cx="8026400" cy="66690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5B9E73-CB6C-4A51-9718-0B48F71FB7C9}" type="slidenum">
              <a:rPr lang="ru-RU" altLang="ru-RU">
                <a:solidFill>
                  <a:srgbClr val="FFFFFF"/>
                </a:solidFill>
              </a:rPr>
              <a:pPr/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95246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333921-167A-4E8F-85F0-C5C17F4C7BD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454196"/>
      </p:ext>
    </p:extLst>
  </p:cSld>
  <p:clrMapOvr>
    <a:masterClrMapping/>
  </p:clrMapOvr>
  <p:transition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4C0CF0-1B9E-4F96-BC71-34B2BA8C61A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361809"/>
      </p:ext>
    </p:extLst>
  </p:cSld>
  <p:clrMapOvr>
    <a:masterClrMapping/>
  </p:clrMapOvr>
  <p:transition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D14193-0572-427F-8E54-07880C2B761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418164"/>
      </p:ext>
    </p:extLst>
  </p:cSld>
  <p:clrMapOvr>
    <a:masterClrMapping/>
  </p:clrMapOvr>
  <p:transition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15889"/>
            <a:ext cx="2743200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5889"/>
            <a:ext cx="802640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E2632-B68E-48F1-8F77-EB368E27FE3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705149"/>
      </p:ext>
    </p:extLst>
  </p:cSld>
  <p:clrMapOvr>
    <a:masterClrMapping/>
  </p:clrMapOvr>
  <p:transition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609600" y="115889"/>
            <a:ext cx="10972800" cy="60102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CFCAFB-C691-4083-A358-350600C7C0F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573178"/>
      </p:ext>
    </p:extLst>
  </p:cSld>
  <p:clrMapOvr>
    <a:masterClrMapping/>
  </p:clrMapOvr>
  <p:transition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90651" y="115889"/>
            <a:ext cx="10191749" cy="7207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6197600" y="1600200"/>
            <a:ext cx="53848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6197600" y="3938589"/>
            <a:ext cx="53848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274462-6C08-4A7C-88C7-14FE0CFF5F26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252672"/>
      </p:ext>
    </p:extLst>
  </p:cSld>
  <p:clrMapOvr>
    <a:masterClrMapping/>
  </p:clrMapOvr>
  <p:transition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76185" y="3789363"/>
            <a:ext cx="777663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176185" y="5445126"/>
            <a:ext cx="7776633" cy="5048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176185" y="6237288"/>
            <a:ext cx="2880783" cy="4762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40084" y="6237288"/>
            <a:ext cx="3285067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893673"/>
      </p:ext>
    </p:extLst>
  </p:cSld>
  <p:clrMapOvr>
    <a:masterClrMapping/>
  </p:clrMapOvr>
  <p:transition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0CCE0-3575-4A6D-B5A2-255098647C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651704"/>
      </p:ext>
    </p:extLst>
  </p:cSld>
  <p:clrMapOvr>
    <a:masterClrMapping/>
  </p:clrMapOvr>
  <p:transition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0C628-A0E0-4F79-AEDE-6B05E212EC6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620292"/>
      </p:ext>
    </p:extLst>
  </p:cSld>
  <p:clrMapOvr>
    <a:masterClrMapping/>
  </p:clrMapOvr>
  <p:transition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D6C482-E806-432A-BB1C-4CEFB895D13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93732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170406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B72DCA-E393-4115-897F-DAF9A916D2D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694844"/>
      </p:ext>
    </p:extLst>
  </p:cSld>
  <p:clrMapOvr>
    <a:masterClrMapping/>
  </p:clrMapOvr>
  <p:transition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F5179-722C-4995-9184-EBD73E6E93C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501863"/>
      </p:ext>
    </p:extLst>
  </p:cSld>
  <p:clrMapOvr>
    <a:masterClrMapping/>
  </p:clrMapOvr>
  <p:transition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3F15C-C01F-4D92-BE98-CFD798A0E26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800514"/>
      </p:ext>
    </p:extLst>
  </p:cSld>
  <p:clrMapOvr>
    <a:masterClrMapping/>
  </p:clrMapOvr>
  <p:transition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064E9-961C-4E60-8A02-38E8E086A8D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4859250"/>
      </p:ext>
    </p:extLst>
  </p:cSld>
  <p:clrMapOvr>
    <a:masterClrMapping/>
  </p:clrMapOvr>
  <p:transition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029CF-FA1A-4F24-8BB2-4CB55EDBA3E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226244"/>
      </p:ext>
    </p:extLst>
  </p:cSld>
  <p:clrMapOvr>
    <a:masterClrMapping/>
  </p:clrMapOvr>
  <p:transition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6395A-715C-497B-B3F2-14455920017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254103"/>
      </p:ext>
    </p:extLst>
  </p:cSld>
  <p:clrMapOvr>
    <a:masterClrMapping/>
  </p:clrMapOvr>
  <p:transition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15889"/>
            <a:ext cx="2743200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5889"/>
            <a:ext cx="802640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3C230-2512-4675-A50F-CC0524CAD6A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58232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08876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644453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17350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48250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98420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D02C4B-0AF0-457A-A1F2-04FDD4625CB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443788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20921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646530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605166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9005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01252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546574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56495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12142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8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CCA882-15AF-4E24-820C-60D832DC77B2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2834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E1D181-5077-492C-9D0F-DC96744DBB0A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565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DAA37A-37C3-4556-A153-741548C355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885812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1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873F2B-76F4-445D-B1E1-A97CA9B849B2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685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19206" y="1196981"/>
            <a:ext cx="5264151" cy="5472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686551" y="1196981"/>
            <a:ext cx="5266267" cy="5472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A9AA7-0499-48D1-AD0B-7809FCB4750A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9916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A73025-43E8-4FC8-BC52-C5917062CCA7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9600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2EF8B2-9489-4BE7-B52D-EA1604B37E12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4769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DB8E8-7F5A-4765-AA8F-D96877593B42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6074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5" y="27306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04291F-1857-40AB-BA7D-DD1FEF7CB2C2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982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19BE34-4125-4696-BCE8-469EA4254AEB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8995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ECD19B-99B8-41F5-9E83-9B0EA9F82D48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1069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448800" y="0"/>
            <a:ext cx="2743200" cy="66690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9200" y="0"/>
            <a:ext cx="8026400" cy="66690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3CA8B6-C7FB-435B-B4A1-84011A074FF0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414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4037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A075A4-30B3-4377-8A6A-91B44443ACC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2306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02242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46210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49824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84969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40437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50031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78367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612105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2902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441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DB7EFD-B33D-493E-9412-A6C5DA424F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1605278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3663069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76185" y="3789363"/>
            <a:ext cx="777663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176185" y="5445126"/>
            <a:ext cx="7776633" cy="5048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176185" y="6237288"/>
            <a:ext cx="2880783" cy="4762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40084" y="6237288"/>
            <a:ext cx="3285067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50730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0CCE0-3575-4A6D-B5A2-255098647C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964631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0C628-A0E0-4F79-AEDE-6B05E212EC6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38051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D6C482-E806-432A-BB1C-4CEFB895D13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303590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B72DCA-E393-4115-897F-DAF9A916D2D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997387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F5179-722C-4995-9184-EBD73E6E93C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266025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3F15C-C01F-4D92-BE98-CFD798A0E26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00683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064E9-961C-4E60-8A02-38E8E086A8D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622398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029CF-FA1A-4F24-8BB2-4CB55EDBA3E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51992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A8C959-59D3-432F-95E3-E6EF7014866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3261516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6395A-715C-497B-B3F2-14455920017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749729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15889"/>
            <a:ext cx="2743200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5889"/>
            <a:ext cx="802640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3C230-2512-4675-A50F-CC0524CAD6A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272327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76185" y="3789363"/>
            <a:ext cx="777663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176185" y="5445126"/>
            <a:ext cx="7776633" cy="5048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176185" y="6237288"/>
            <a:ext cx="2880783" cy="4762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40084" y="6237288"/>
            <a:ext cx="3285067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156965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0CCE0-3575-4A6D-B5A2-255098647C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887123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0C628-A0E0-4F79-AEDE-6B05E212EC6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833874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D6C482-E806-432A-BB1C-4CEFB895D13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706004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B72DCA-E393-4115-897F-DAF9A916D2D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454985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F5179-722C-4995-9184-EBD73E6E93C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813794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3F15C-C01F-4D92-BE98-CFD798A0E26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026018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064E9-961C-4E60-8A02-38E8E086A8D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32779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1B43D6-1B79-4581-816B-080A5D0250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5445226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029CF-FA1A-4F24-8BB2-4CB55EDBA3E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242790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6395A-715C-497B-B3F2-14455920017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72494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15889"/>
            <a:ext cx="2743200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5889"/>
            <a:ext cx="802640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3C230-2512-4675-A50F-CC0524CAD6A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705872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76185" y="3789363"/>
            <a:ext cx="777663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176185" y="5445126"/>
            <a:ext cx="7776633" cy="5048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176185" y="6237288"/>
            <a:ext cx="2880783" cy="4762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40084" y="6237288"/>
            <a:ext cx="3285067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453855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0CCE0-3575-4A6D-B5A2-255098647C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688636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0C628-A0E0-4F79-AEDE-6B05E212EC6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756279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D6C482-E806-432A-BB1C-4CEFB895D13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434148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B72DCA-E393-4115-897F-DAF9A916D2D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925098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F5179-722C-4995-9184-EBD73E6E93C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349698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3F15C-C01F-4D92-BE98-CFD798A0E26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45001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185FC6-57D2-4573-A88C-EA140CFC7F2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9738469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064E9-961C-4E60-8A02-38E8E086A8D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951237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029CF-FA1A-4F24-8BB2-4CB55EDBA3E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151265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6395A-715C-497B-B3F2-14455920017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448770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15889"/>
            <a:ext cx="2743200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115889"/>
            <a:ext cx="802640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3C230-2512-4675-A50F-CC0524CAD6A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326129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176185" y="3789363"/>
            <a:ext cx="777663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176185" y="5445126"/>
            <a:ext cx="7776633" cy="504825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176185" y="6237288"/>
            <a:ext cx="2880783" cy="47625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7440084" y="6237288"/>
            <a:ext cx="3285067" cy="476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574179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0CCE0-3575-4A6D-B5A2-255098647C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104735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0C628-A0E0-4F79-AEDE-6B05E212EC6D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980973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D6C482-E806-432A-BB1C-4CEFB895D13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135737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B72DCA-E393-4115-897F-DAF9A916D2D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293700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F5179-722C-4995-9184-EBD73E6E93C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80416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image" Target="../media/image1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image" Target="../media/image1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13" Type="http://schemas.openxmlformats.org/officeDocument/2006/relationships/slideLayout" Target="../slideLayouts/slideLayout196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90.xml"/><Relationship Id="rId12" Type="http://schemas.openxmlformats.org/officeDocument/2006/relationships/slideLayout" Target="../slideLayouts/slideLayout195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85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88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93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slideLayout" Target="../slideLayouts/slideLayout209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98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206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13" Type="http://schemas.openxmlformats.org/officeDocument/2006/relationships/slideLayout" Target="../slideLayouts/slideLayout222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1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11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219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Relationship Id="rId1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35.xml"/><Relationship Id="rId3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5" Type="http://schemas.openxmlformats.org/officeDocument/2006/relationships/slideLayout" Target="../slideLayouts/slideLayout22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42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240.xml"/><Relationship Id="rId10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102784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2200" b="1" smtClean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2F5964A-ABAE-4AC7-815B-07BD5FBEF5D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21976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0651" y="115889"/>
            <a:ext cx="10191749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07533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4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A88C6EF-347C-4181-9531-CEF02AAC5B2B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237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0651" y="115889"/>
            <a:ext cx="10191749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07533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4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A88C6EF-347C-4181-9531-CEF02AAC5B2B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51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0651" y="115889"/>
            <a:ext cx="10191749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07533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4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A88C6EF-347C-4181-9531-CEF02AAC5B2B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058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7798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7785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0651" y="115889"/>
            <a:ext cx="10191749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07533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4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A88C6EF-347C-4181-9531-CEF02AAC5B2B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983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0651" y="115889"/>
            <a:ext cx="10191749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07533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4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A88C6EF-347C-4181-9531-CEF02AAC5B2B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970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18" imgW="286" imgH="286" progId="TCLayout.ActiveDocument.1">
                  <p:embed/>
                </p:oleObj>
              </mc:Choice>
              <mc:Fallback>
                <p:oleObj name="think-cell Slide" r:id="rId18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107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  <p:sldLayoutId id="2147483928" r:id="rId13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5pPr>
      <a:lvl6pPr marL="422041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6pPr>
      <a:lvl7pPr marL="844083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7pPr>
      <a:lvl8pPr marL="1266124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8pPr>
      <a:lvl9pPr marL="1688165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9pPr>
    </p:titleStyle>
    <p:bodyStyle>
      <a:lvl1pPr marL="316531" indent="-316531" algn="l" rtl="0" eaLnBrk="1" fontAlgn="base" hangingPunct="1">
        <a:spcBef>
          <a:spcPct val="20000"/>
        </a:spcBef>
        <a:spcAft>
          <a:spcPct val="0"/>
        </a:spcAft>
        <a:buChar char="•"/>
        <a:defRPr sz="2954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1" fontAlgn="base" hangingPunct="1">
        <a:spcBef>
          <a:spcPct val="20000"/>
        </a:spcBef>
        <a:spcAft>
          <a:spcPct val="0"/>
        </a:spcAft>
        <a:buChar char="–"/>
        <a:defRPr sz="2585">
          <a:solidFill>
            <a:schemeClr val="tx1"/>
          </a:solidFill>
          <a:latin typeface="+mn-lt"/>
        </a:defRPr>
      </a:lvl2pPr>
      <a:lvl3pPr marL="1055103" indent="-211021" algn="l" rtl="0" eaLnBrk="1" fontAlgn="base" hangingPunct="1">
        <a:spcBef>
          <a:spcPct val="20000"/>
        </a:spcBef>
        <a:spcAft>
          <a:spcPct val="0"/>
        </a:spcAft>
        <a:buChar char="•"/>
        <a:defRPr sz="2215">
          <a:solidFill>
            <a:schemeClr val="tx1"/>
          </a:solidFill>
          <a:latin typeface="+mn-lt"/>
        </a:defRPr>
      </a:lvl3pPr>
      <a:lvl4pPr marL="1477145" indent="-211021" algn="l" rtl="0" eaLnBrk="1" fontAlgn="base" hangingPunct="1">
        <a:spcBef>
          <a:spcPct val="20000"/>
        </a:spcBef>
        <a:spcAft>
          <a:spcPct val="0"/>
        </a:spcAft>
        <a:buChar char="–"/>
        <a:defRPr sz="1846">
          <a:solidFill>
            <a:schemeClr val="tx1"/>
          </a:solidFill>
          <a:latin typeface="+mn-lt"/>
        </a:defRPr>
      </a:lvl4pPr>
      <a:lvl5pPr marL="1899186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5pPr>
      <a:lvl6pPr marL="2321227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6pPr>
      <a:lvl7pPr marL="2743269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7pPr>
      <a:lvl8pPr marL="3165310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8pPr>
      <a:lvl9pPr marL="3587351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think-cell Slide" r:id="rId18" imgW="286" imgH="286" progId="TCLayout.ActiveDocument.1">
                  <p:embed/>
                </p:oleObj>
              </mc:Choice>
              <mc:Fallback>
                <p:oleObj name="think-cell Slide" r:id="rId18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90099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  <p:sldLayoutId id="2147483935" r:id="rId6"/>
    <p:sldLayoutId id="2147483936" r:id="rId7"/>
    <p:sldLayoutId id="2147483937" r:id="rId8"/>
    <p:sldLayoutId id="2147483938" r:id="rId9"/>
    <p:sldLayoutId id="2147483939" r:id="rId10"/>
    <p:sldLayoutId id="2147483940" r:id="rId11"/>
    <p:sldLayoutId id="2147483941" r:id="rId12"/>
    <p:sldLayoutId id="2147483942" r:id="rId13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5pPr>
      <a:lvl6pPr marL="422041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6pPr>
      <a:lvl7pPr marL="844083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7pPr>
      <a:lvl8pPr marL="1266124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8pPr>
      <a:lvl9pPr marL="1688165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9pPr>
    </p:titleStyle>
    <p:bodyStyle>
      <a:lvl1pPr marL="316531" indent="-316531" algn="l" rtl="0" eaLnBrk="1" fontAlgn="base" hangingPunct="1">
        <a:spcBef>
          <a:spcPct val="20000"/>
        </a:spcBef>
        <a:spcAft>
          <a:spcPct val="0"/>
        </a:spcAft>
        <a:buChar char="•"/>
        <a:defRPr sz="2954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1" fontAlgn="base" hangingPunct="1">
        <a:spcBef>
          <a:spcPct val="20000"/>
        </a:spcBef>
        <a:spcAft>
          <a:spcPct val="0"/>
        </a:spcAft>
        <a:buChar char="–"/>
        <a:defRPr sz="2585">
          <a:solidFill>
            <a:schemeClr val="tx1"/>
          </a:solidFill>
          <a:latin typeface="+mn-lt"/>
        </a:defRPr>
      </a:lvl2pPr>
      <a:lvl3pPr marL="1055103" indent="-211021" algn="l" rtl="0" eaLnBrk="1" fontAlgn="base" hangingPunct="1">
        <a:spcBef>
          <a:spcPct val="20000"/>
        </a:spcBef>
        <a:spcAft>
          <a:spcPct val="0"/>
        </a:spcAft>
        <a:buChar char="•"/>
        <a:defRPr sz="2215">
          <a:solidFill>
            <a:schemeClr val="tx1"/>
          </a:solidFill>
          <a:latin typeface="+mn-lt"/>
        </a:defRPr>
      </a:lvl3pPr>
      <a:lvl4pPr marL="1477145" indent="-211021" algn="l" rtl="0" eaLnBrk="1" fontAlgn="base" hangingPunct="1">
        <a:spcBef>
          <a:spcPct val="20000"/>
        </a:spcBef>
        <a:spcAft>
          <a:spcPct val="0"/>
        </a:spcAft>
        <a:buChar char="–"/>
        <a:defRPr sz="1846">
          <a:solidFill>
            <a:schemeClr val="tx1"/>
          </a:solidFill>
          <a:latin typeface="+mn-lt"/>
        </a:defRPr>
      </a:lvl4pPr>
      <a:lvl5pPr marL="1899186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5pPr>
      <a:lvl6pPr marL="2321227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6pPr>
      <a:lvl7pPr marL="2743269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7pPr>
      <a:lvl8pPr marL="3165310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8pPr>
      <a:lvl9pPr marL="3587351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" name="think-cell Slide" r:id="rId18" imgW="286" imgH="286" progId="TCLayout.ActiveDocument.1">
                  <p:embed/>
                </p:oleObj>
              </mc:Choice>
              <mc:Fallback>
                <p:oleObj name="think-cell Slide" r:id="rId18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1133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5pPr>
      <a:lvl6pPr marL="422041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6pPr>
      <a:lvl7pPr marL="844083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7pPr>
      <a:lvl8pPr marL="1266124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8pPr>
      <a:lvl9pPr marL="1688165" algn="ctr" rtl="0" eaLnBrk="1" fontAlgn="base" hangingPunct="1">
        <a:spcBef>
          <a:spcPct val="0"/>
        </a:spcBef>
        <a:spcAft>
          <a:spcPct val="0"/>
        </a:spcAft>
        <a:defRPr sz="4062">
          <a:solidFill>
            <a:schemeClr val="tx2"/>
          </a:solidFill>
          <a:latin typeface="PragmaticaITT" pitchFamily="34" charset="0"/>
        </a:defRPr>
      </a:lvl9pPr>
    </p:titleStyle>
    <p:bodyStyle>
      <a:lvl1pPr marL="316531" indent="-316531" algn="l" rtl="0" eaLnBrk="1" fontAlgn="base" hangingPunct="1">
        <a:spcBef>
          <a:spcPct val="20000"/>
        </a:spcBef>
        <a:spcAft>
          <a:spcPct val="0"/>
        </a:spcAft>
        <a:buChar char="•"/>
        <a:defRPr sz="2954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1" fontAlgn="base" hangingPunct="1">
        <a:spcBef>
          <a:spcPct val="20000"/>
        </a:spcBef>
        <a:spcAft>
          <a:spcPct val="0"/>
        </a:spcAft>
        <a:buChar char="–"/>
        <a:defRPr sz="2585">
          <a:solidFill>
            <a:schemeClr val="tx1"/>
          </a:solidFill>
          <a:latin typeface="+mn-lt"/>
        </a:defRPr>
      </a:lvl2pPr>
      <a:lvl3pPr marL="1055103" indent="-211021" algn="l" rtl="0" eaLnBrk="1" fontAlgn="base" hangingPunct="1">
        <a:spcBef>
          <a:spcPct val="20000"/>
        </a:spcBef>
        <a:spcAft>
          <a:spcPct val="0"/>
        </a:spcAft>
        <a:buChar char="•"/>
        <a:defRPr sz="2215">
          <a:solidFill>
            <a:schemeClr val="tx1"/>
          </a:solidFill>
          <a:latin typeface="+mn-lt"/>
        </a:defRPr>
      </a:lvl3pPr>
      <a:lvl4pPr marL="1477145" indent="-211021" algn="l" rtl="0" eaLnBrk="1" fontAlgn="base" hangingPunct="1">
        <a:spcBef>
          <a:spcPct val="20000"/>
        </a:spcBef>
        <a:spcAft>
          <a:spcPct val="0"/>
        </a:spcAft>
        <a:buChar char="–"/>
        <a:defRPr sz="1846">
          <a:solidFill>
            <a:schemeClr val="tx1"/>
          </a:solidFill>
          <a:latin typeface="+mn-lt"/>
        </a:defRPr>
      </a:lvl4pPr>
      <a:lvl5pPr marL="1899186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5pPr>
      <a:lvl6pPr marL="2321227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6pPr>
      <a:lvl7pPr marL="2743269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7pPr>
      <a:lvl8pPr marL="3165310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8pPr>
      <a:lvl9pPr marL="3587351" indent="-211021" algn="l" rtl="0" eaLnBrk="1" fontAlgn="base" hangingPunct="1">
        <a:spcBef>
          <a:spcPct val="20000"/>
        </a:spcBef>
        <a:spcAft>
          <a:spcPct val="0"/>
        </a:spcAft>
        <a:buChar char="»"/>
        <a:defRPr sz="1846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spect="1" noChangeArrowheads="1"/>
          </p:cNvSpPr>
          <p:nvPr>
            <p:ph type="title"/>
          </p:nvPr>
        </p:nvSpPr>
        <p:spPr bwMode="auto">
          <a:xfrm>
            <a:off x="1219200" y="1"/>
            <a:ext cx="109728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68917" cy="987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6E88D33-19E8-4053-B235-AC7C52E879CD}" type="slidenum">
              <a:rPr lang="ru-RU" altLang="ru-RU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FFFFFF"/>
              </a:solidFill>
            </a:endParaRPr>
          </a:p>
        </p:txBody>
      </p:sp>
      <p:sp>
        <p:nvSpPr>
          <p:cNvPr id="1028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9201" y="1196976"/>
            <a:ext cx="10733617" cy="547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9105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anose="05000000000000000000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anose="05000000000000000000" pitchFamily="2" charset="2"/>
        <a:buChar char="§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0651" y="115889"/>
            <a:ext cx="10191749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07533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2BC8AAB-26F2-4BB3-A13D-6A9AE9CCAAEE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443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  <p:sldLayoutId id="2147483970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0651" y="115889"/>
            <a:ext cx="10191749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07533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4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A88C6EF-347C-4181-9531-CEF02AAC5B2B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366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400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spect="1" noChangeArrowheads="1"/>
          </p:cNvSpPr>
          <p:nvPr>
            <p:ph type="title"/>
          </p:nvPr>
        </p:nvSpPr>
        <p:spPr bwMode="auto">
          <a:xfrm>
            <a:off x="1219200" y="1"/>
            <a:ext cx="109728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68917" cy="987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2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9340E4-B162-4345-9BE1-DF418E09392C}" type="slidenum">
              <a:rPr lang="ru-RU" alt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1028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9201" y="1196976"/>
            <a:ext cx="10733617" cy="547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08738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PragmaticaIT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anose="05000000000000000000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anose="05000000000000000000" pitchFamily="2" charset="2"/>
        <a:buChar char="§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F03C46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4353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PragmaticaIT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0651" y="115889"/>
            <a:ext cx="10191749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07533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4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A88C6EF-347C-4181-9531-CEF02AAC5B2B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31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0651" y="115889"/>
            <a:ext cx="10191749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07533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4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A88C6EF-347C-4181-9531-CEF02AAC5B2B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371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0651" y="115889"/>
            <a:ext cx="10191749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07533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4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A88C6EF-347C-4181-9531-CEF02AAC5B2B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118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0651" y="115889"/>
            <a:ext cx="10191749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1"/>
            <a:ext cx="1007533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24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A88C6EF-347C-4181-9531-CEF02AAC5B2B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137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wmf"/><Relationship Id="rId3" Type="http://schemas.openxmlformats.org/officeDocument/2006/relationships/notesSlide" Target="../notesSlides/notesSlide11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6.emf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9.xml"/><Relationship Id="rId4" Type="http://schemas.openxmlformats.org/officeDocument/2006/relationships/image" Target="../media/image3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4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1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3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12.xml"/><Relationship Id="rId4" Type="http://schemas.openxmlformats.org/officeDocument/2006/relationships/image" Target="../media/image41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4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5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3"/>
          <p:cNvSpPr txBox="1">
            <a:spLocks noChangeArrowheads="1"/>
          </p:cNvSpPr>
          <p:nvPr/>
        </p:nvSpPr>
        <p:spPr bwMode="auto">
          <a:xfrm>
            <a:off x="2438400" y="2636914"/>
            <a:ext cx="8229600" cy="3077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rgbClr val="FFFFFF"/>
                </a:solidFill>
                <a:latin typeface="Trebuchet MS" pitchFamily="34" charset="0"/>
              </a:rPr>
              <a:t>Основные результаты и проблемы ввода в разработку </a:t>
            </a:r>
            <a:r>
              <a:rPr lang="ru-RU" sz="2800" b="1" dirty="0" err="1" smtClean="0">
                <a:solidFill>
                  <a:srgbClr val="FFFFFF"/>
                </a:solidFill>
                <a:latin typeface="Trebuchet MS" pitchFamily="34" charset="0"/>
              </a:rPr>
              <a:t>ТрИЗ</a:t>
            </a:r>
            <a:r>
              <a:rPr lang="ru-RU" sz="2800" b="1" dirty="0" smtClean="0">
                <a:solidFill>
                  <a:srgbClr val="FFFFFF"/>
                </a:solidFill>
                <a:latin typeface="Trebuchet MS" pitchFamily="34" charset="0"/>
              </a:rPr>
              <a:t> нефти из </a:t>
            </a:r>
            <a:r>
              <a:rPr lang="ru-RU" sz="2800" b="1" dirty="0" err="1" smtClean="0">
                <a:solidFill>
                  <a:srgbClr val="FFFFFF"/>
                </a:solidFill>
                <a:latin typeface="Trebuchet MS" pitchFamily="34" charset="0"/>
              </a:rPr>
              <a:t>доманиковых</a:t>
            </a:r>
            <a:r>
              <a:rPr lang="ru-RU" sz="2800" b="1" dirty="0" smtClean="0">
                <a:solidFill>
                  <a:srgbClr val="FFFFFF"/>
                </a:solidFill>
                <a:latin typeface="Trebuchet MS" pitchFamily="34" charset="0"/>
              </a:rPr>
              <a:t> отложений и СВН</a:t>
            </a:r>
            <a:endParaRPr lang="ru-RU" sz="2800" b="1" dirty="0">
              <a:solidFill>
                <a:srgbClr val="FFFFFF"/>
              </a:solidFill>
              <a:latin typeface="Trebuchet MS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2800" dirty="0">
              <a:solidFill>
                <a:srgbClr val="FFFFFF"/>
              </a:solidFill>
              <a:latin typeface="Trebuchet MS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2800" dirty="0">
              <a:solidFill>
                <a:srgbClr val="FFFFFF"/>
              </a:solidFill>
              <a:latin typeface="Trebuchet MS" pitchFamily="34" charset="0"/>
            </a:endParaRPr>
          </a:p>
          <a:p>
            <a:pPr marL="3230563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solidFill>
                  <a:srgbClr val="FFFFFF"/>
                </a:solidFill>
                <a:latin typeface="Trebuchet MS" pitchFamily="34" charset="0"/>
              </a:rPr>
              <a:t>Главный </a:t>
            </a:r>
            <a:r>
              <a:rPr lang="ru-RU" sz="1800" dirty="0">
                <a:solidFill>
                  <a:srgbClr val="FFFFFF"/>
                </a:solidFill>
                <a:latin typeface="Trebuchet MS" pitchFamily="34" charset="0"/>
              </a:rPr>
              <a:t>геолог-заместитель </a:t>
            </a:r>
            <a:r>
              <a:rPr lang="ru-RU" sz="1800" dirty="0" smtClean="0">
                <a:solidFill>
                  <a:srgbClr val="FFFFFF"/>
                </a:solidFill>
                <a:latin typeface="Trebuchet MS" pitchFamily="34" charset="0"/>
              </a:rPr>
              <a:t>генерального </a:t>
            </a:r>
            <a:r>
              <a:rPr lang="ru-RU" sz="1800" dirty="0">
                <a:solidFill>
                  <a:srgbClr val="FFFFFF"/>
                </a:solidFill>
                <a:latin typeface="Trebuchet MS" pitchFamily="34" charset="0"/>
              </a:rPr>
              <a:t>директора ПАО «</a:t>
            </a:r>
            <a:r>
              <a:rPr lang="ru-RU" sz="1800" dirty="0" smtClean="0">
                <a:solidFill>
                  <a:srgbClr val="FFFFFF"/>
                </a:solidFill>
                <a:latin typeface="Trebuchet MS" pitchFamily="34" charset="0"/>
              </a:rPr>
              <a:t>Татнефть», </a:t>
            </a:r>
            <a:r>
              <a:rPr lang="ru-RU" sz="1800" dirty="0" err="1" smtClean="0">
                <a:solidFill>
                  <a:srgbClr val="FFFFFF"/>
                </a:solidFill>
                <a:latin typeface="Trebuchet MS" pitchFamily="34" charset="0"/>
              </a:rPr>
              <a:t>д.г-м.н</a:t>
            </a:r>
            <a:r>
              <a:rPr lang="ru-RU" sz="1800" dirty="0" smtClean="0">
                <a:solidFill>
                  <a:srgbClr val="FFFFFF"/>
                </a:solidFill>
                <a:latin typeface="Trebuchet MS" pitchFamily="34" charset="0"/>
              </a:rPr>
              <a:t>,                               профессор, академик АН РТ </a:t>
            </a:r>
            <a:r>
              <a:rPr lang="ru-RU" sz="1800" dirty="0" err="1" smtClean="0">
                <a:solidFill>
                  <a:srgbClr val="FFFFFF"/>
                </a:solidFill>
                <a:latin typeface="Trebuchet MS" pitchFamily="34" charset="0"/>
              </a:rPr>
              <a:t>Хисамов</a:t>
            </a:r>
            <a:r>
              <a:rPr lang="ru-RU" sz="1800" dirty="0" smtClean="0">
                <a:solidFill>
                  <a:srgbClr val="FFFFFF"/>
                </a:solidFill>
                <a:latin typeface="Trebuchet MS" pitchFamily="34" charset="0"/>
              </a:rPr>
              <a:t> </a:t>
            </a:r>
            <a:r>
              <a:rPr lang="ru-RU" sz="1800" dirty="0">
                <a:solidFill>
                  <a:srgbClr val="FFFFFF"/>
                </a:solidFill>
                <a:latin typeface="Trebuchet MS" pitchFamily="34" charset="0"/>
              </a:rPr>
              <a:t>Р.С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187787" y="6080308"/>
            <a:ext cx="4719145" cy="2975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FFFFFF"/>
                </a:solidFill>
                <a:ea typeface="Times New Roman"/>
                <a:cs typeface="Arial" panose="020B0604020202020204" pitchFamily="34" charset="0"/>
              </a:rPr>
              <a:t>НЕФТЕГАЗ-2018, Москва, 17-18 апреля 2018</a:t>
            </a:r>
          </a:p>
        </p:txBody>
      </p:sp>
    </p:spTree>
    <p:extLst>
      <p:ext uri="{BB962C8B-B14F-4D97-AF65-F5344CB8AC3E}">
        <p14:creationId xmlns:p14="http://schemas.microsoft.com/office/powerpoint/2010/main" val="14385833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2175035" y="1124744"/>
          <a:ext cx="7916110" cy="575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5805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95805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52328"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60960" marB="60960">
                    <a:lnL w="12700" cmpd="sng">
                      <a:noFill/>
                    </a:lnL>
                    <a:lnR w="38100" cap="flat" cmpd="sng" algn="ctr">
                      <a:solidFill>
                        <a:srgbClr val="00A2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rgbClr val="00A2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60960" marB="60960">
                    <a:lnL w="38100" cap="flat" cmpd="sng" algn="ctr">
                      <a:solidFill>
                        <a:srgbClr val="00A2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03512"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 marT="60960" marB="60960">
                    <a:lnL w="12700" cmpd="sng">
                      <a:noFill/>
                    </a:lnL>
                    <a:lnR w="38100" cap="flat" cmpd="sng" algn="ctr">
                      <a:solidFill>
                        <a:srgbClr val="00A2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A2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38100" cap="flat" cmpd="sng" algn="ctr">
                      <a:solidFill>
                        <a:srgbClr val="00A2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00A2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088470" y="951932"/>
            <a:ext cx="457953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kern="0">
                <a:solidFill>
                  <a:srgbClr val="00A268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Установки К-54 и АПРС-40Н для проведения текущего и капитального ремонтов горизонтальных скважин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561" y="1132398"/>
            <a:ext cx="3441565" cy="28587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631505" y="908889"/>
            <a:ext cx="426498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kern="0" dirty="0" err="1">
                <a:solidFill>
                  <a:srgbClr val="00A268"/>
                </a:solidFill>
                <a:latin typeface="Times New Roman" pitchFamily="18" charset="0"/>
                <a:cs typeface="Times New Roman" pitchFamily="18" charset="0"/>
              </a:rPr>
              <a:t>Импортозамещение</a:t>
            </a:r>
            <a:r>
              <a:rPr lang="ru-RU" sz="1300" b="1" kern="0" dirty="0">
                <a:solidFill>
                  <a:srgbClr val="00A268"/>
                </a:solidFill>
                <a:latin typeface="Times New Roman" pitchFamily="18" charset="0"/>
                <a:cs typeface="Times New Roman" pitchFamily="18" charset="0"/>
              </a:rPr>
              <a:t> при бурении скважин СВН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4869161"/>
            <a:ext cx="2106358" cy="17597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3289" y="4869162"/>
            <a:ext cx="1995181" cy="17597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Box 2"/>
          <p:cNvSpPr txBox="1">
            <a:spLocks noChangeArrowheads="1"/>
          </p:cNvSpPr>
          <p:nvPr/>
        </p:nvSpPr>
        <p:spPr bwMode="auto">
          <a:xfrm>
            <a:off x="1847529" y="4354181"/>
            <a:ext cx="21334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стьевые арматуры</a:t>
            </a:r>
          </a:p>
        </p:txBody>
      </p:sp>
      <p:sp>
        <p:nvSpPr>
          <p:cNvPr id="23" name="TextBox 17"/>
          <p:cNvSpPr txBox="1">
            <a:spLocks noChangeArrowheads="1"/>
          </p:cNvSpPr>
          <p:nvPr/>
        </p:nvSpPr>
        <p:spPr bwMode="auto">
          <a:xfrm>
            <a:off x="3840385" y="4404759"/>
            <a:ext cx="2407332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5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ысокотемпературны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05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ШВН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631504" y="4149080"/>
            <a:ext cx="439248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kern="0">
                <a:solidFill>
                  <a:srgbClr val="00A268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err="1"/>
              <a:t>Импортозамещение</a:t>
            </a:r>
            <a:r>
              <a:rPr lang="ru-RU" dirty="0"/>
              <a:t> при эксплуатации скважин</a:t>
            </a:r>
          </a:p>
        </p:txBody>
      </p:sp>
      <p:pic>
        <p:nvPicPr>
          <p:cNvPr id="2" name="Picture 2" descr="C:\Users\garifullinMZ\Desktop\Презентации\фото СВН\TIA_597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78" y="1787452"/>
            <a:ext cx="2241062" cy="1987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65" descr="Фото из Канады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70328" y="1782716"/>
            <a:ext cx="2190747" cy="19919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Прямоугольник 2"/>
          <p:cNvSpPr>
            <a:spLocks noChangeArrowheads="1"/>
          </p:cNvSpPr>
          <p:nvPr/>
        </p:nvSpPr>
        <p:spPr bwMode="auto">
          <a:xfrm>
            <a:off x="6968268" y="1341782"/>
            <a:ext cx="52610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1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-54</a:t>
            </a: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33" name="Прямоугольник 3"/>
          <p:cNvSpPr>
            <a:spLocks noChangeArrowheads="1"/>
          </p:cNvSpPr>
          <p:nvPr/>
        </p:nvSpPr>
        <p:spPr bwMode="auto">
          <a:xfrm>
            <a:off x="9107710" y="1348918"/>
            <a:ext cx="93326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1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С-40Н</a:t>
            </a: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/>
          </p:nvPr>
        </p:nvGraphicFramePr>
        <p:xfrm>
          <a:off x="6170328" y="3961301"/>
          <a:ext cx="4437067" cy="2436334"/>
        </p:xfrm>
        <a:graphic>
          <a:graphicData uri="http://schemas.openxmlformats.org/drawingml/2006/table">
            <a:tbl>
              <a:tblPr/>
              <a:tblGrid>
                <a:gridCol w="17729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3368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3047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36228">
                <a:tc gridSpan="3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rgbClr val="00A268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хнические </a:t>
                      </a:r>
                      <a:r>
                        <a:rPr lang="ru-RU" sz="1300" b="1" i="0" u="none" strike="noStrike" dirty="0">
                          <a:solidFill>
                            <a:srgbClr val="00A268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актеристики</a:t>
                      </a:r>
                    </a:p>
                  </a:txBody>
                  <a:tcPr marL="9525" marR="9525" marT="1270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68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раметров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оминальное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начение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68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-54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С-40Н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97631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одитель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tional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ilwell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rco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Ш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АО «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O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LAZ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</a:p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АО «ПО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лАЗ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 Росс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689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оимость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клонной установки, млн. руб.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4,5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,5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7631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анспортное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асси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моходная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тановка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луприцеп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х осный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768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узоподъемность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транспортном положении, тн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,2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76893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сса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грегата, тн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68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баритные размеры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на-ширина-высот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м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,8-3,4-4,6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,3-2,7-4,4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97631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вигатель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terpillar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15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ША)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aMZ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38М2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/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МЗ-238М2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Россия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9525" marR="9525" marT="127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4" name="Rectangle 2"/>
          <p:cNvSpPr txBox="1">
            <a:spLocks noChangeArrowheads="1"/>
          </p:cNvSpPr>
          <p:nvPr/>
        </p:nvSpPr>
        <p:spPr bwMode="auto">
          <a:xfrm>
            <a:off x="1288026" y="116632"/>
            <a:ext cx="10687664" cy="57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/>
            <a:r>
              <a:rPr lang="ru-RU" altLang="ru-RU" sz="2400" b="1" dirty="0">
                <a:solidFill>
                  <a:srgbClr val="FFFFFF"/>
                </a:solidFill>
                <a:latin typeface="PragmaticaITT"/>
                <a:cs typeface="Arial" panose="020B0604020202020204" pitchFamily="34" charset="0"/>
              </a:rPr>
              <a:t>Разработанные оборудования, решения по снижению затрат</a:t>
            </a: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206477" y="44445"/>
            <a:ext cx="755650" cy="864444"/>
          </a:xfrm>
        </p:spPr>
        <p:txBody>
          <a:bodyPr/>
          <a:lstStyle/>
          <a:p>
            <a:pPr>
              <a:defRPr/>
            </a:pPr>
            <a:fld id="{43C0CCE0-3575-4A6D-B5A2-255098647C2B}" type="slidenum">
              <a:rPr lang="ru-RU" sz="3200" smtClean="0">
                <a:solidFill>
                  <a:srgbClr val="FFFFFF"/>
                </a:solidFill>
              </a:rPr>
              <a:pPr>
                <a:defRPr/>
              </a:pPr>
              <a:t>10</a:t>
            </a:fld>
            <a:endParaRPr lang="ru-RU" sz="3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922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3C0CCE0-3575-4A6D-B5A2-255098647C2B}" type="slidenum">
              <a:rPr lang="ru-RU" sz="3200" smtClean="0">
                <a:solidFill>
                  <a:srgbClr val="FFFFFF"/>
                </a:solidFill>
              </a:rPr>
              <a:pPr>
                <a:defRPr/>
              </a:pPr>
              <a:t>11</a:t>
            </a:fld>
            <a:endParaRPr lang="ru-RU" sz="3200" dirty="0">
              <a:solidFill>
                <a:srgbClr val="FFFFFF"/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66988" y="115889"/>
            <a:ext cx="7705476" cy="720725"/>
          </a:xfrm>
        </p:spPr>
        <p:txBody>
          <a:bodyPr/>
          <a:lstStyle/>
          <a:p>
            <a:pPr algn="ctr"/>
            <a:r>
              <a:rPr lang="ru-RU" sz="2400" b="1" dirty="0">
                <a:latin typeface="PragmaticaITT"/>
              </a:rPr>
              <a:t>Снижение </a:t>
            </a:r>
            <a:r>
              <a:rPr lang="ru-RU" sz="2400" b="1" dirty="0" err="1">
                <a:latin typeface="PragmaticaITT"/>
              </a:rPr>
              <a:t>энергозатрат</a:t>
            </a:r>
            <a:r>
              <a:rPr lang="ru-RU" sz="2400" b="1" dirty="0">
                <a:latin typeface="PragmaticaITT"/>
              </a:rPr>
              <a:t> за счет применения </a:t>
            </a:r>
            <a:r>
              <a:rPr lang="ru-RU" sz="2400" b="1" dirty="0" err="1">
                <a:latin typeface="PragmaticaITT"/>
              </a:rPr>
              <a:t>термогелевой</a:t>
            </a:r>
            <a:r>
              <a:rPr lang="ru-RU" sz="2400" b="1" dirty="0">
                <a:latin typeface="PragmaticaITT"/>
              </a:rPr>
              <a:t> пробки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540324" y="1412776"/>
            <a:ext cx="387615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600" dirty="0">
                <a:solidFill>
                  <a:srgbClr val="000000"/>
                </a:solidFill>
              </a:rPr>
              <a:t>Определение скважин кандидатов для установки </a:t>
            </a:r>
            <a:r>
              <a:rPr lang="ru-RU" sz="1600" dirty="0" err="1">
                <a:solidFill>
                  <a:srgbClr val="000000"/>
                </a:solidFill>
              </a:rPr>
              <a:t>гелевой</a:t>
            </a:r>
            <a:r>
              <a:rPr lang="ru-RU" sz="1600" dirty="0">
                <a:solidFill>
                  <a:srgbClr val="000000"/>
                </a:solidFill>
              </a:rPr>
              <a:t> пробки.</a:t>
            </a:r>
          </a:p>
          <a:p>
            <a:pPr marL="342900" indent="-342900" algn="just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600" dirty="0">
                <a:solidFill>
                  <a:srgbClr val="000000"/>
                </a:solidFill>
              </a:rPr>
              <a:t>Выбор оптимального интервала изоляции ухода тепла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808018" y="1084674"/>
            <a:ext cx="43924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000" b="1" kern="0">
                <a:solidFill>
                  <a:srgbClr val="00A268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Решение задачи: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705984" y="3212977"/>
            <a:ext cx="386634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000000"/>
                </a:solidFill>
              </a:rPr>
              <a:t>     В результате установки </a:t>
            </a:r>
            <a:r>
              <a:rPr lang="ru-RU" sz="1600" dirty="0" err="1">
                <a:solidFill>
                  <a:srgbClr val="000000"/>
                </a:solidFill>
              </a:rPr>
              <a:t>гелевой</a:t>
            </a:r>
            <a:r>
              <a:rPr lang="ru-RU" sz="1600" dirty="0">
                <a:solidFill>
                  <a:srgbClr val="000000"/>
                </a:solidFill>
              </a:rPr>
              <a:t> пробки происходит: </a:t>
            </a:r>
          </a:p>
          <a:p>
            <a:pPr marL="285750" indent="-285750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000000"/>
                </a:solidFill>
              </a:rPr>
              <a:t>ускорение формирования паровой камеры и создания связи;</a:t>
            </a:r>
          </a:p>
          <a:p>
            <a:pPr marL="285750" indent="-285750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000000"/>
                </a:solidFill>
              </a:rPr>
              <a:t>увеличение дебита нефти – в среднем 6,5 т/одну </a:t>
            </a:r>
            <a:r>
              <a:rPr lang="ru-RU" sz="1400" b="1" dirty="0" err="1">
                <a:solidFill>
                  <a:srgbClr val="000000"/>
                </a:solidFill>
              </a:rPr>
              <a:t>скв</a:t>
            </a:r>
            <a:r>
              <a:rPr lang="ru-RU" sz="1400" b="1" dirty="0">
                <a:solidFill>
                  <a:srgbClr val="000000"/>
                </a:solidFill>
              </a:rPr>
              <a:t>-опер.</a:t>
            </a:r>
          </a:p>
          <a:p>
            <a:pPr marL="285750" indent="-285750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000000"/>
                </a:solidFill>
              </a:rPr>
              <a:t>снижение </a:t>
            </a:r>
            <a:r>
              <a:rPr lang="ru-RU" sz="1400" b="1" dirty="0" err="1">
                <a:solidFill>
                  <a:srgbClr val="000000"/>
                </a:solidFill>
              </a:rPr>
              <a:t>обводненности</a:t>
            </a:r>
            <a:r>
              <a:rPr lang="ru-RU" sz="1400" b="1" dirty="0">
                <a:solidFill>
                  <a:srgbClr val="000000"/>
                </a:solidFill>
              </a:rPr>
              <a:t> продукции;</a:t>
            </a:r>
          </a:p>
          <a:p>
            <a:pPr marL="285750" indent="-285750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000000"/>
                </a:solidFill>
              </a:rPr>
              <a:t>снижение удельного расхода пара на добычу одной тонны СВН (при неизменном темпе закачки пара).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705984" y="2812866"/>
            <a:ext cx="37444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kern="0" dirty="0">
                <a:solidFill>
                  <a:srgbClr val="00A268"/>
                </a:solidFill>
                <a:latin typeface="Times New Roman" pitchFamily="18" charset="0"/>
                <a:cs typeface="Times New Roman" pitchFamily="18" charset="0"/>
              </a:rPr>
              <a:t>Эффективность работ: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35560" y="3861048"/>
            <a:ext cx="43924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kern="0" dirty="0">
                <a:solidFill>
                  <a:srgbClr val="00A268"/>
                </a:solidFill>
                <a:latin typeface="Times New Roman" pitchFamily="18" charset="0"/>
                <a:cs typeface="Times New Roman" pitchFamily="18" charset="0"/>
              </a:rPr>
              <a:t>Динамика эксплуатации пары ГС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216" y="2232665"/>
            <a:ext cx="2736850" cy="1560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688" y="1227346"/>
            <a:ext cx="2573755" cy="13834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1442" y="4168776"/>
            <a:ext cx="5127625" cy="268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131690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 Box 6"/>
          <p:cNvSpPr txBox="1">
            <a:spLocks noChangeArrowheads="1"/>
          </p:cNvSpPr>
          <p:nvPr/>
        </p:nvSpPr>
        <p:spPr bwMode="auto">
          <a:xfrm>
            <a:off x="2679231" y="261807"/>
            <a:ext cx="824440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dirty="0">
                <a:solidFill>
                  <a:srgbClr val="FFFFFF"/>
                </a:solidFill>
                <a:latin typeface="PragmaticaITT"/>
                <a:cs typeface="Arial" panose="020B0604020202020204" pitchFamily="34" charset="0"/>
              </a:rPr>
              <a:t>Проблемы разработки СВН</a:t>
            </a:r>
          </a:p>
        </p:txBody>
      </p:sp>
      <p:sp>
        <p:nvSpPr>
          <p:cNvPr id="3075" name="Номер слайда 2"/>
          <p:cNvSpPr txBox="1">
            <a:spLocks/>
          </p:cNvSpPr>
          <p:nvPr/>
        </p:nvSpPr>
        <p:spPr bwMode="auto">
          <a:xfrm>
            <a:off x="84666" y="2103"/>
            <a:ext cx="827088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3236839C-E0C0-4A44-9A56-34C09E607388}" type="slidenum">
              <a:rPr lang="ru-RU" altLang="ru-RU" sz="32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ru-RU" altLang="ru-RU" sz="3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404854"/>
              </p:ext>
            </p:extLst>
          </p:nvPr>
        </p:nvGraphicFramePr>
        <p:xfrm>
          <a:off x="396607" y="1162905"/>
          <a:ext cx="11523644" cy="5625826"/>
        </p:xfrm>
        <a:graphic>
          <a:graphicData uri="http://schemas.openxmlformats.org/drawingml/2006/table">
            <a:tbl>
              <a:tblPr/>
              <a:tblGrid>
                <a:gridCol w="700056"/>
                <a:gridCol w="5592686"/>
                <a:gridCol w="4680280"/>
                <a:gridCol w="550622"/>
              </a:tblGrid>
              <a:tr h="18705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862" marR="5862" marT="5862" marB="0" anchor="b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блема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ариант решения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рок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54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/>
                      </a:r>
                      <a:b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</a:b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   В добывающих скважинах SAGD, значительная часть горизонтального ствола которых располагается в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одонасыщенно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зоне, происходит снижение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обывных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возможностей ввиду подтягивания «холодной» воды из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одонасыщенно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оны.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станавливать 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рмостойкую </a:t>
                      </a:r>
                      <a:r>
                        <a:rPr lang="ru-RU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елевую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пробку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расчетного объема в фильтре добывающей скважины для отсечения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одонасыщенно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зоны «носка» скважины перед повторным освоением скважин закачкой пара. 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1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235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Часть продуктивных пластов поднятий СВН характеризуется наличием протяженных глинистых прослоев между добывающей и нагнетательной скважинами, что препятствует фильтрации парового конденсата от нагнетательной скважины к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обывающей.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извести 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акачку большого объема </a:t>
                      </a:r>
                      <a:r>
                        <a:rPr lang="ru-RU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линокислотной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композиции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интервально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в нагнетательную скважину с целью обработки межскважинного пространства между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гнетально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и добывающей скважинами и создания термогидродинамической связи между ними.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1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25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апасы СВН в интервалах толщин пласта менее 10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.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спользовать 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истему из горизонтальных и вертикальных скважин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а также 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шахтный способ 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звлечения данных запасов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91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изкие</a:t>
                      </a:r>
                      <a:r>
                        <a:rPr lang="ru-RU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значения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ИН при разработке мелкозалегающих залежей СВН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спользованию 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астворителей и катализаторов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1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52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тсутствие</a:t>
                      </a:r>
                      <a:r>
                        <a:rPr lang="ru-RU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хнологии 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обычи СВН из карбонатных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лекторов.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ведение</a:t>
                      </a:r>
                      <a:r>
                        <a:rPr lang="ru-RU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НИОКР, ОПР на полигоне СВН (</a:t>
                      </a:r>
                      <a:r>
                        <a:rPr lang="ru-RU" sz="16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Елаурский</a:t>
                      </a:r>
                      <a:r>
                        <a:rPr lang="ru-RU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участок недр).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862" marR="5862" marT="5862" marB="0" anchor="ctr">
                    <a:lnL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B4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48485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695"/>
          <p:cNvSpPr>
            <a:spLocks noChangeArrowheads="1"/>
          </p:cNvSpPr>
          <p:nvPr/>
        </p:nvSpPr>
        <p:spPr bwMode="auto">
          <a:xfrm>
            <a:off x="1524001" y="86153"/>
            <a:ext cx="103632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dirty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Система экологического контроля на залежи СВН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dirty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при паротепловом воздействии на пласт</a:t>
            </a:r>
          </a:p>
        </p:txBody>
      </p:sp>
      <p:sp>
        <p:nvSpPr>
          <p:cNvPr id="31747" name="Rectangle 2"/>
          <p:cNvSpPr>
            <a:spLocks noChangeArrowheads="1"/>
          </p:cNvSpPr>
          <p:nvPr/>
        </p:nvSpPr>
        <p:spPr bwMode="auto">
          <a:xfrm>
            <a:off x="1524000" y="-184150"/>
            <a:ext cx="1841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31748" name="TextBox 25"/>
          <p:cNvSpPr txBox="1">
            <a:spLocks noChangeArrowheads="1"/>
          </p:cNvSpPr>
          <p:nvPr/>
        </p:nvSpPr>
        <p:spPr bwMode="auto">
          <a:xfrm>
            <a:off x="6888163" y="930276"/>
            <a:ext cx="34099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>
                <a:solidFill>
                  <a:srgbClr val="000000"/>
                </a:solidFill>
              </a:rPr>
              <a:t>Геодинамический полигон</a:t>
            </a:r>
            <a:r>
              <a:rPr lang="en-US" altLang="ru-RU" sz="1000" b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1" name="Text Box 30"/>
          <p:cNvSpPr txBox="1">
            <a:spLocks noChangeArrowheads="1"/>
          </p:cNvSpPr>
          <p:nvPr/>
        </p:nvSpPr>
        <p:spPr bwMode="auto">
          <a:xfrm>
            <a:off x="802217" y="5232932"/>
            <a:ext cx="4465638" cy="708025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en-US"/>
            </a:defPPr>
            <a:lvl1pPr marL="177800" indent="-17780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  <a:defRPr sz="1200" b="1">
                <a:solidFill>
                  <a:srgbClr val="000000"/>
                </a:solidFill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dk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dk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dk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dk1"/>
                </a:solidFill>
              </a:defRPr>
            </a:lvl5pPr>
            <a:lvl6pPr defTabSz="914400">
              <a:defRPr>
                <a:solidFill>
                  <a:schemeClr val="dk1"/>
                </a:solidFill>
              </a:defRPr>
            </a:lvl6pPr>
            <a:lvl7pPr defTabSz="914400">
              <a:defRPr>
                <a:solidFill>
                  <a:schemeClr val="dk1"/>
                </a:solidFill>
              </a:defRPr>
            </a:lvl7pPr>
            <a:lvl8pPr defTabSz="914400">
              <a:defRPr>
                <a:solidFill>
                  <a:schemeClr val="dk1"/>
                </a:solidFill>
              </a:defRPr>
            </a:lvl8pPr>
            <a:lvl9pPr defTabSz="914400">
              <a:defRPr>
                <a:solidFill>
                  <a:schemeClr val="dk1"/>
                </a:solidFill>
              </a:defRPr>
            </a:lvl9pPr>
          </a:lstStyle>
          <a:p>
            <a:pPr>
              <a:defRPr/>
            </a:pPr>
            <a:r>
              <a:rPr lang="ru-RU" altLang="ru-RU" sz="800" dirty="0"/>
              <a:t>Поверхностные воды – 4 </a:t>
            </a:r>
            <a:r>
              <a:rPr lang="ru-RU" altLang="ru-RU" sz="800" dirty="0" err="1"/>
              <a:t>водопоста</a:t>
            </a:r>
            <a:r>
              <a:rPr lang="ru-RU" altLang="ru-RU" sz="800" dirty="0"/>
              <a:t> на реке </a:t>
            </a:r>
            <a:r>
              <a:rPr lang="ru-RU" altLang="ru-RU" sz="800" dirty="0" err="1"/>
              <a:t>Шешма</a:t>
            </a:r>
            <a:r>
              <a:rPr lang="ru-RU" altLang="ru-RU" sz="800" dirty="0"/>
              <a:t>.</a:t>
            </a:r>
          </a:p>
          <a:p>
            <a:pPr>
              <a:defRPr/>
            </a:pPr>
            <a:r>
              <a:rPr lang="ru-RU" altLang="ru-RU" sz="800" dirty="0"/>
              <a:t>Подземные воды – 2 колодца, 4 родника, 3 арт. скважины, 5 эколого-гидрогеологических скважин</a:t>
            </a:r>
          </a:p>
          <a:p>
            <a:pPr>
              <a:defRPr/>
            </a:pPr>
            <a:r>
              <a:rPr lang="ru-RU" altLang="ru-RU" sz="800" dirty="0"/>
              <a:t>13 пунктов отбора проб почв</a:t>
            </a:r>
          </a:p>
          <a:p>
            <a:pPr>
              <a:defRPr/>
            </a:pPr>
            <a:r>
              <a:rPr lang="ru-RU" altLang="ru-RU" sz="800" dirty="0"/>
              <a:t>11 пунктов наблюдения за состоянием атмосферного воздуха</a:t>
            </a:r>
          </a:p>
        </p:txBody>
      </p:sp>
      <p:sp>
        <p:nvSpPr>
          <p:cNvPr id="12" name="Text Box 30"/>
          <p:cNvSpPr txBox="1">
            <a:spLocks noChangeArrowheads="1"/>
          </p:cNvSpPr>
          <p:nvPr/>
        </p:nvSpPr>
        <p:spPr bwMode="auto">
          <a:xfrm>
            <a:off x="6696075" y="5189539"/>
            <a:ext cx="3930650" cy="708025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defPPr>
              <a:defRPr lang="en-US"/>
            </a:defPPr>
            <a:lvl1pPr marL="177800" indent="-17780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  <a:defRPr sz="1200" b="1">
                <a:solidFill>
                  <a:srgbClr val="000000"/>
                </a:solidFill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dk1"/>
                </a:solidFill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dk1"/>
                </a:solidFill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dk1"/>
                </a:solidFill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dk1"/>
                </a:solidFill>
              </a:defRPr>
            </a:lvl5pPr>
            <a:lvl6pPr defTabSz="914400">
              <a:defRPr>
                <a:solidFill>
                  <a:schemeClr val="dk1"/>
                </a:solidFill>
              </a:defRPr>
            </a:lvl6pPr>
            <a:lvl7pPr defTabSz="914400">
              <a:defRPr>
                <a:solidFill>
                  <a:schemeClr val="dk1"/>
                </a:solidFill>
              </a:defRPr>
            </a:lvl7pPr>
            <a:lvl8pPr defTabSz="914400">
              <a:defRPr>
                <a:solidFill>
                  <a:schemeClr val="dk1"/>
                </a:solidFill>
              </a:defRPr>
            </a:lvl8pPr>
            <a:lvl9pPr defTabSz="914400">
              <a:defRPr>
                <a:solidFill>
                  <a:schemeClr val="dk1"/>
                </a:solidFill>
              </a:defRPr>
            </a:lvl9pPr>
          </a:lstStyle>
          <a:p>
            <a:pPr>
              <a:defRPr/>
            </a:pPr>
            <a:r>
              <a:rPr lang="ru-RU" altLang="ru-RU" sz="800" dirty="0"/>
              <a:t>9 мониторных станций, из них 2 - опорные</a:t>
            </a:r>
          </a:p>
          <a:p>
            <a:pPr>
              <a:defRPr/>
            </a:pPr>
            <a:r>
              <a:rPr lang="ru-RU" altLang="ru-RU" sz="800" dirty="0"/>
              <a:t>Сбор данных производится в автоматическом режиме под управлением специализированного программного обеспечения</a:t>
            </a:r>
          </a:p>
          <a:p>
            <a:pPr>
              <a:defRPr/>
            </a:pPr>
            <a:r>
              <a:rPr lang="ru-RU" altLang="ru-RU" sz="800" dirty="0"/>
              <a:t>Контроль деформаций производится в режиме постоянного мониторинга с интервалом 1 час и передается в центр обработки</a:t>
            </a:r>
          </a:p>
        </p:txBody>
      </p:sp>
      <p:sp>
        <p:nvSpPr>
          <p:cNvPr id="31751" name="Номер слайда 2"/>
          <p:cNvSpPr txBox="1">
            <a:spLocks/>
          </p:cNvSpPr>
          <p:nvPr/>
        </p:nvSpPr>
        <p:spPr bwMode="auto">
          <a:xfrm>
            <a:off x="1524000" y="12701"/>
            <a:ext cx="827088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3200" b="1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752" name="Рисунок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1" t="18025" r="69154" b="70601"/>
          <a:stretch>
            <a:fillRect/>
          </a:stretch>
        </p:blipFill>
        <p:spPr bwMode="auto">
          <a:xfrm>
            <a:off x="6550026" y="1125539"/>
            <a:ext cx="2043113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3" name="Рисунок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91" t="18088" r="3316" b="68536"/>
          <a:stretch>
            <a:fillRect/>
          </a:stretch>
        </p:blipFill>
        <p:spPr bwMode="auto">
          <a:xfrm>
            <a:off x="8697914" y="1130300"/>
            <a:ext cx="1908175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4" name="Рисунок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1" t="47346" r="3316" b="7266"/>
          <a:stretch>
            <a:fillRect/>
          </a:stretch>
        </p:blipFill>
        <p:spPr bwMode="auto">
          <a:xfrm>
            <a:off x="6613526" y="2341563"/>
            <a:ext cx="3825875" cy="282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55" name="Прямоугольник 1"/>
          <p:cNvSpPr>
            <a:spLocks noChangeArrowheads="1"/>
          </p:cNvSpPr>
          <p:nvPr/>
        </p:nvSpPr>
        <p:spPr bwMode="auto">
          <a:xfrm>
            <a:off x="1527176" y="5897563"/>
            <a:ext cx="9078913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ru-RU" altLang="ru-RU" sz="12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жнейшим направлением нашей деятельности является обеспечение экологической и промышленной безопасности. Для решения этих вопросов в постоянном режиме ведутся работы по исследованию состояния почвы (1 раз в год), питьевых вод (по Ашальчинскому месторождению 1 раз в месяц, по остальным - 1 раз в квартал), атмосферного воздуха (1 раз в месяц); мониторингу деформации земной поверхности (в постоянном режиме)</a:t>
            </a:r>
            <a:endParaRPr lang="ru-RU" altLang="ru-RU" sz="1400" b="1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756" name="Picture 1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217" y="1738314"/>
            <a:ext cx="4578350" cy="338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1757" name="Объект 1"/>
          <p:cNvGraphicFramePr>
            <a:graphicFrameLocks noChangeAspect="1"/>
          </p:cNvGraphicFramePr>
          <p:nvPr>
            <p:extLst/>
          </p:nvPr>
        </p:nvGraphicFramePr>
        <p:xfrm>
          <a:off x="5118101" y="1238250"/>
          <a:ext cx="1431925" cy="1839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CorelDRAW" r:id="rId7" imgW="1770888" imgH="2276856" progId="CorelDraw.Graphic.17">
                  <p:embed/>
                </p:oleObj>
              </mc:Choice>
              <mc:Fallback>
                <p:oleObj name="CorelDRAW" r:id="rId7" imgW="1770888" imgH="2276856" progId="CorelDraw.Graphic.17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18101" y="1238250"/>
                        <a:ext cx="1431925" cy="18399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58" name="TextBox 9"/>
          <p:cNvSpPr txBox="1">
            <a:spLocks noChangeArrowheads="1"/>
          </p:cNvSpPr>
          <p:nvPr/>
        </p:nvSpPr>
        <p:spPr bwMode="auto">
          <a:xfrm>
            <a:off x="861484" y="1072622"/>
            <a:ext cx="36718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>
                <a:solidFill>
                  <a:srgbClr val="000000"/>
                </a:solidFill>
              </a:rPr>
              <a:t>Режимная сеть наблюдений в рамках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b="1" dirty="0">
                <a:solidFill>
                  <a:srgbClr val="000000"/>
                </a:solidFill>
              </a:rPr>
              <a:t>производственного экологического контроля</a:t>
            </a:r>
          </a:p>
        </p:txBody>
      </p:sp>
      <p:sp>
        <p:nvSpPr>
          <p:cNvPr id="19" name="Номер слайда 2"/>
          <p:cNvSpPr txBox="1">
            <a:spLocks/>
          </p:cNvSpPr>
          <p:nvPr/>
        </p:nvSpPr>
        <p:spPr bwMode="auto">
          <a:xfrm>
            <a:off x="135467" y="0"/>
            <a:ext cx="827088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endParaRPr lang="ru-RU" altLang="ru-RU" sz="3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97877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22347" y="165040"/>
            <a:ext cx="10727267" cy="618384"/>
          </a:xfrm>
        </p:spPr>
        <p:txBody>
          <a:bodyPr/>
          <a:lstStyle/>
          <a:p>
            <a:r>
              <a:rPr lang="ru-RU" sz="2800" b="1" dirty="0" smtClean="0">
                <a:solidFill>
                  <a:schemeClr val="accent3"/>
                </a:solidFill>
              </a:rPr>
              <a:t>Мордово-</a:t>
            </a:r>
            <a:r>
              <a:rPr lang="ru-RU" sz="2800" b="1" dirty="0" err="1" smtClean="0">
                <a:solidFill>
                  <a:schemeClr val="accent3"/>
                </a:solidFill>
              </a:rPr>
              <a:t>Кармальское</a:t>
            </a:r>
            <a:r>
              <a:rPr lang="ru-RU" sz="2800" b="1" dirty="0" smtClean="0">
                <a:solidFill>
                  <a:schemeClr val="accent3"/>
                </a:solidFill>
              </a:rPr>
              <a:t> месторождение СВН</a:t>
            </a:r>
            <a:endParaRPr lang="ru-RU" sz="2800" b="1" dirty="0">
              <a:solidFill>
                <a:schemeClr val="accent3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altLang="ru-RU" sz="3200" dirty="0" smtClean="0">
                <a:solidFill>
                  <a:srgbClr val="FFFFFF"/>
                </a:solidFill>
              </a:rPr>
              <a:t>14</a:t>
            </a:r>
            <a:endParaRPr lang="ru-RU" altLang="ru-RU" sz="3200" dirty="0">
              <a:solidFill>
                <a:srgbClr val="FFFFFF"/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379123" y="2297916"/>
            <a:ext cx="6521210" cy="3882750"/>
            <a:chOff x="-584734" y="1000108"/>
            <a:chExt cx="11636975" cy="5857892"/>
          </a:xfrm>
        </p:grpSpPr>
        <p:pic>
          <p:nvPicPr>
            <p:cNvPr id="5" name="Picture 2" descr="tmp0001"/>
            <p:cNvPicPr>
              <a:picLocks noChangeAspect="1" noChangeArrowheads="1"/>
            </p:cNvPicPr>
            <p:nvPr/>
          </p:nvPicPr>
          <p:blipFill>
            <a:blip r:embed="rId2"/>
            <a:srcRect l="18419" t="11732" r="17790" b="35568"/>
            <a:stretch>
              <a:fillRect/>
            </a:stretch>
          </p:blipFill>
          <p:spPr bwMode="auto">
            <a:xfrm>
              <a:off x="1571604" y="1071546"/>
              <a:ext cx="6020315" cy="5786454"/>
            </a:xfrm>
            <a:prstGeom prst="rect">
              <a:avLst/>
            </a:prstGeom>
            <a:gradFill rotWithShape="1">
              <a:gsLst>
                <a:gs pos="0">
                  <a:srgbClr val="9BBB59">
                    <a:shade val="51000"/>
                    <a:satMod val="130000"/>
                  </a:srgbClr>
                </a:gs>
                <a:gs pos="80000">
                  <a:srgbClr val="9BBB59">
                    <a:shade val="93000"/>
                    <a:satMod val="130000"/>
                  </a:srgbClr>
                </a:gs>
                <a:gs pos="100000">
                  <a:srgbClr val="9BBB59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</p:pic>
        <p:sp>
          <p:nvSpPr>
            <p:cNvPr id="6" name="Блок-схема: альтернативный процесс 5"/>
            <p:cNvSpPr/>
            <p:nvPr/>
          </p:nvSpPr>
          <p:spPr bwMode="auto">
            <a:xfrm>
              <a:off x="6286512" y="1214421"/>
              <a:ext cx="2286016" cy="1000132"/>
            </a:xfrm>
            <a:prstGeom prst="flowChartAlternateProcess">
              <a:avLst/>
            </a:prstGeom>
            <a:gradFill>
              <a:gsLst>
                <a:gs pos="0">
                  <a:srgbClr val="02AE60"/>
                </a:gs>
                <a:gs pos="80000">
                  <a:srgbClr val="4F81BD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4F81BD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kern="0" dirty="0" smtClean="0">
                  <a:solidFill>
                    <a:prstClr val="black"/>
                  </a:solidFill>
                  <a:latin typeface="Calibri"/>
                </a:rPr>
                <a:t>Закачка горячей воды (0,25 тыс.т)</a:t>
              </a:r>
              <a:endParaRPr lang="ru-RU" sz="1200" b="1" kern="0" dirty="0" smtClean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7" name="Овал 6"/>
            <p:cNvSpPr/>
            <p:nvPr/>
          </p:nvSpPr>
          <p:spPr bwMode="auto">
            <a:xfrm>
              <a:off x="4500562" y="2000240"/>
              <a:ext cx="1000132" cy="1071570"/>
            </a:xfrm>
            <a:prstGeom prst="ellips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b="1" smtClean="0">
                <a:solidFill>
                  <a:prstClr val="black"/>
                </a:solidFill>
                <a:latin typeface="Arial" charset="0"/>
              </a:endParaRPr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 bwMode="auto">
            <a:xfrm flipV="1">
              <a:off x="5429256" y="1928802"/>
              <a:ext cx="857256" cy="357190"/>
            </a:xfrm>
            <a:prstGeom prst="line">
              <a:avLst/>
            </a:prstGeom>
            <a:solidFill>
              <a:srgbClr val="4F81BD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Овал 8"/>
            <p:cNvSpPr/>
            <p:nvPr/>
          </p:nvSpPr>
          <p:spPr bwMode="auto">
            <a:xfrm>
              <a:off x="4857752" y="2500306"/>
              <a:ext cx="71438" cy="71438"/>
            </a:xfrm>
            <a:prstGeom prst="ellipse">
              <a:avLst/>
            </a:prstGeom>
            <a:solidFill>
              <a:srgbClr val="CCFFFF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b="1" kern="0" smtClean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0" name="Овал 9"/>
            <p:cNvSpPr/>
            <p:nvPr/>
          </p:nvSpPr>
          <p:spPr bwMode="auto">
            <a:xfrm>
              <a:off x="3786182" y="2643182"/>
              <a:ext cx="785818" cy="785818"/>
            </a:xfrm>
            <a:prstGeom prst="ellips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b="1" smtClean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1" name="Овал 10"/>
            <p:cNvSpPr/>
            <p:nvPr/>
          </p:nvSpPr>
          <p:spPr bwMode="auto">
            <a:xfrm>
              <a:off x="2357422" y="4429132"/>
              <a:ext cx="4714908" cy="2071702"/>
            </a:xfrm>
            <a:prstGeom prst="ellips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b="1" smtClean="0">
                <a:solidFill>
                  <a:prstClr val="black"/>
                </a:solidFill>
                <a:latin typeface="Arial" charset="0"/>
              </a:endParaRPr>
            </a:p>
          </p:txBody>
        </p:sp>
        <p:cxnSp>
          <p:nvCxnSpPr>
            <p:cNvPr id="12" name="Прямая соединительная линия 11"/>
            <p:cNvCxnSpPr>
              <a:stCxn id="21" idx="0"/>
            </p:cNvCxnSpPr>
            <p:nvPr/>
          </p:nvCxnSpPr>
          <p:spPr bwMode="auto">
            <a:xfrm flipV="1">
              <a:off x="1136378" y="5143517"/>
              <a:ext cx="1292481" cy="500060"/>
            </a:xfrm>
            <a:prstGeom prst="line">
              <a:avLst/>
            </a:prstGeom>
            <a:solidFill>
              <a:srgbClr val="4F81BD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" name="Овал 12"/>
            <p:cNvSpPr/>
            <p:nvPr/>
          </p:nvSpPr>
          <p:spPr bwMode="auto">
            <a:xfrm>
              <a:off x="4429124" y="3143248"/>
              <a:ext cx="785818" cy="428628"/>
            </a:xfrm>
            <a:prstGeom prst="ellips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b="1" smtClean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4" name="Овал 13"/>
            <p:cNvSpPr/>
            <p:nvPr/>
          </p:nvSpPr>
          <p:spPr bwMode="auto">
            <a:xfrm>
              <a:off x="5357818" y="2571744"/>
              <a:ext cx="785818" cy="785818"/>
            </a:xfrm>
            <a:prstGeom prst="ellips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b="1" smtClean="0">
                <a:solidFill>
                  <a:prstClr val="black"/>
                </a:solidFill>
                <a:latin typeface="Arial" charset="0"/>
              </a:endParaRP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 flipV="1">
              <a:off x="6072198" y="2928934"/>
              <a:ext cx="1214446" cy="142876"/>
            </a:xfrm>
            <a:prstGeom prst="line">
              <a:avLst/>
            </a:prstGeom>
            <a:solidFill>
              <a:srgbClr val="4F81BD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Прямая соединительная линия 15"/>
            <p:cNvCxnSpPr/>
            <p:nvPr/>
          </p:nvCxnSpPr>
          <p:spPr bwMode="auto">
            <a:xfrm rot="10800000">
              <a:off x="5214942" y="3429000"/>
              <a:ext cx="785818" cy="285752"/>
            </a:xfrm>
            <a:prstGeom prst="line">
              <a:avLst/>
            </a:prstGeom>
            <a:solidFill>
              <a:srgbClr val="4F81BD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7" name="Блок-схема: альтернативный процесс 16"/>
            <p:cNvSpPr/>
            <p:nvPr/>
          </p:nvSpPr>
          <p:spPr bwMode="auto">
            <a:xfrm>
              <a:off x="-488854" y="2279954"/>
              <a:ext cx="2969433" cy="1434798"/>
            </a:xfrm>
            <a:prstGeom prst="flowChartAlternateProcess">
              <a:avLst/>
            </a:prstGeom>
            <a:gradFill>
              <a:gsLst>
                <a:gs pos="0">
                  <a:srgbClr val="02AE60"/>
                </a:gs>
                <a:gs pos="80000">
                  <a:srgbClr val="4F81BD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4F81BD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b="1" kern="0" dirty="0" smtClean="0">
                  <a:solidFill>
                    <a:prstClr val="black"/>
                  </a:solidFill>
                  <a:latin typeface="Calibri"/>
                </a:rPr>
                <a:t>Парогазовое и паровоздушное </a:t>
              </a:r>
              <a:r>
                <a:rPr lang="ru-RU" sz="1200" b="1" kern="0" dirty="0" smtClean="0">
                  <a:solidFill>
                    <a:prstClr val="black"/>
                  </a:solidFill>
                  <a:latin typeface="Calibri"/>
                </a:rPr>
                <a:t>воздействие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kern="0" dirty="0" smtClean="0">
                  <a:solidFill>
                    <a:prstClr val="black"/>
                  </a:solidFill>
                  <a:latin typeface="Calibri"/>
                </a:rPr>
                <a:t>(6,4 тыс.т)</a:t>
              </a:r>
              <a:endParaRPr lang="ru-RU" sz="1200" b="1" kern="0" dirty="0" smtClean="0">
                <a:solidFill>
                  <a:prstClr val="black"/>
                </a:solidFill>
                <a:latin typeface="Arial" charset="0"/>
              </a:endParaRPr>
            </a:p>
          </p:txBody>
        </p:sp>
        <p:cxnSp>
          <p:nvCxnSpPr>
            <p:cNvPr id="18" name="Прямая соединительная линия 17"/>
            <p:cNvCxnSpPr/>
            <p:nvPr/>
          </p:nvCxnSpPr>
          <p:spPr bwMode="auto">
            <a:xfrm rot="10800000">
              <a:off x="2500298" y="2928934"/>
              <a:ext cx="1258088" cy="43642"/>
            </a:xfrm>
            <a:prstGeom prst="line">
              <a:avLst/>
            </a:prstGeom>
            <a:solidFill>
              <a:srgbClr val="4F81BD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" name="Блок-схема: альтернативный процесс 18"/>
            <p:cNvSpPr/>
            <p:nvPr/>
          </p:nvSpPr>
          <p:spPr bwMode="auto">
            <a:xfrm>
              <a:off x="6091721" y="3514436"/>
              <a:ext cx="3440612" cy="785817"/>
            </a:xfrm>
            <a:prstGeom prst="flowChartAlternateProcess">
              <a:avLst/>
            </a:prstGeom>
            <a:gradFill>
              <a:gsLst>
                <a:gs pos="0">
                  <a:srgbClr val="02AE60"/>
                </a:gs>
                <a:gs pos="80000">
                  <a:srgbClr val="4F81BD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4F81BD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kern="0" dirty="0" err="1" smtClean="0">
                  <a:solidFill>
                    <a:prstClr val="black"/>
                  </a:solidFill>
                  <a:latin typeface="Arial" charset="0"/>
                </a:rPr>
                <a:t>Термосольвентные</a:t>
              </a:r>
              <a:r>
                <a:rPr lang="ru-RU" sz="1200" b="1" kern="0" dirty="0" smtClean="0">
                  <a:solidFill>
                    <a:prstClr val="black"/>
                  </a:solidFill>
                  <a:latin typeface="Arial" charset="0"/>
                </a:rPr>
                <a:t> обработки (0,2 тыс.т)</a:t>
              </a:r>
            </a:p>
          </p:txBody>
        </p:sp>
        <p:cxnSp>
          <p:nvCxnSpPr>
            <p:cNvPr id="20" name="Прямая соединительная линия 19"/>
            <p:cNvCxnSpPr/>
            <p:nvPr/>
          </p:nvCxnSpPr>
          <p:spPr bwMode="auto">
            <a:xfrm rot="16200000" flipV="1">
              <a:off x="3357554" y="2000240"/>
              <a:ext cx="642942" cy="642942"/>
            </a:xfrm>
            <a:prstGeom prst="line">
              <a:avLst/>
            </a:prstGeom>
            <a:solidFill>
              <a:srgbClr val="4F81BD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1" name="Блок-схема: альтернативный процесс 20"/>
            <p:cNvSpPr/>
            <p:nvPr/>
          </p:nvSpPr>
          <p:spPr bwMode="auto">
            <a:xfrm>
              <a:off x="-584734" y="5643577"/>
              <a:ext cx="3442223" cy="857256"/>
            </a:xfrm>
            <a:prstGeom prst="flowChartAlternateProcess">
              <a:avLst/>
            </a:prstGeom>
            <a:gradFill>
              <a:gsLst>
                <a:gs pos="0">
                  <a:srgbClr val="02AE60"/>
                </a:gs>
                <a:gs pos="80000">
                  <a:srgbClr val="4F81BD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4F81BD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kern="0" dirty="0" smtClean="0">
                  <a:solidFill>
                    <a:prstClr val="black"/>
                  </a:solidFill>
                  <a:latin typeface="Arial" charset="0"/>
                </a:rPr>
                <a:t>Внутрипластовое горение (202 тыс.т)</a:t>
              </a:r>
            </a:p>
          </p:txBody>
        </p:sp>
        <p:sp>
          <p:nvSpPr>
            <p:cNvPr id="22" name="Блок-схема: альтернативный процесс 21"/>
            <p:cNvSpPr/>
            <p:nvPr/>
          </p:nvSpPr>
          <p:spPr bwMode="auto">
            <a:xfrm>
              <a:off x="7286646" y="2522126"/>
              <a:ext cx="3765595" cy="857256"/>
            </a:xfrm>
            <a:prstGeom prst="flowChartAlternateProcess">
              <a:avLst/>
            </a:prstGeom>
            <a:gradFill>
              <a:gsLst>
                <a:gs pos="0">
                  <a:srgbClr val="02AE60"/>
                </a:gs>
                <a:gs pos="80000">
                  <a:srgbClr val="4F81BD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4F81BD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kern="0" dirty="0" smtClean="0">
                  <a:solidFill>
                    <a:prstClr val="black"/>
                  </a:solidFill>
                  <a:latin typeface="Arial" charset="0"/>
                </a:rPr>
                <a:t>Паротепловое воздействие (6,1 тыс.т)</a:t>
              </a:r>
            </a:p>
          </p:txBody>
        </p:sp>
        <p:sp>
          <p:nvSpPr>
            <p:cNvPr id="23" name="Овал 22"/>
            <p:cNvSpPr/>
            <p:nvPr/>
          </p:nvSpPr>
          <p:spPr bwMode="auto">
            <a:xfrm>
              <a:off x="5072066" y="5072074"/>
              <a:ext cx="1071570" cy="1000132"/>
            </a:xfrm>
            <a:prstGeom prst="ellips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b="1" smtClean="0">
                <a:solidFill>
                  <a:prstClr val="black"/>
                </a:solidFill>
                <a:latin typeface="Arial" charset="0"/>
              </a:endParaRPr>
            </a:p>
          </p:txBody>
        </p:sp>
        <p:cxnSp>
          <p:nvCxnSpPr>
            <p:cNvPr id="24" name="Прямая соединительная линия 23"/>
            <p:cNvCxnSpPr/>
            <p:nvPr/>
          </p:nvCxnSpPr>
          <p:spPr bwMode="auto">
            <a:xfrm flipV="1">
              <a:off x="6143636" y="5429264"/>
              <a:ext cx="1214446" cy="142876"/>
            </a:xfrm>
            <a:prstGeom prst="line">
              <a:avLst/>
            </a:prstGeom>
            <a:solidFill>
              <a:srgbClr val="4F81BD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5" name="Блок-схема: альтернативный процесс 24"/>
            <p:cNvSpPr/>
            <p:nvPr/>
          </p:nvSpPr>
          <p:spPr bwMode="auto">
            <a:xfrm>
              <a:off x="7143736" y="5214950"/>
              <a:ext cx="2000264" cy="785818"/>
            </a:xfrm>
            <a:prstGeom prst="flowChartAlternateProcess">
              <a:avLst/>
            </a:prstGeom>
            <a:gradFill>
              <a:gsLst>
                <a:gs pos="0">
                  <a:srgbClr val="02AE60"/>
                </a:gs>
                <a:gs pos="80000">
                  <a:srgbClr val="4F81BD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4F81BD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kern="0" dirty="0" smtClean="0">
                  <a:solidFill>
                    <a:prstClr val="black"/>
                  </a:solidFill>
                  <a:latin typeface="Calibri"/>
                </a:rPr>
                <a:t>НТО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kern="0" dirty="0" smtClean="0">
                  <a:solidFill>
                    <a:prstClr val="black"/>
                  </a:solidFill>
                  <a:latin typeface="Calibri"/>
                </a:rPr>
                <a:t>(6 </a:t>
              </a:r>
              <a:r>
                <a:rPr lang="ru-RU" sz="1200" b="1" kern="0" dirty="0" err="1" smtClean="0">
                  <a:solidFill>
                    <a:prstClr val="black"/>
                  </a:solidFill>
                  <a:latin typeface="Calibri"/>
                </a:rPr>
                <a:t>тыс.т</a:t>
              </a:r>
              <a:r>
                <a:rPr lang="ru-RU" sz="1200" b="1" kern="0" dirty="0" smtClean="0">
                  <a:solidFill>
                    <a:prstClr val="black"/>
                  </a:solidFill>
                  <a:latin typeface="Calibri"/>
                </a:rPr>
                <a:t>)</a:t>
              </a:r>
              <a:endParaRPr lang="ru-RU" sz="1200" b="1" kern="0" dirty="0" smtClean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6" name="Блок-схема: альтернативный процесс 25"/>
            <p:cNvSpPr/>
            <p:nvPr/>
          </p:nvSpPr>
          <p:spPr bwMode="auto">
            <a:xfrm>
              <a:off x="1288454" y="1000108"/>
              <a:ext cx="2251935" cy="1000132"/>
            </a:xfrm>
            <a:prstGeom prst="flowChartAlternateProcess">
              <a:avLst/>
            </a:prstGeom>
            <a:gradFill>
              <a:gsLst>
                <a:gs pos="0">
                  <a:srgbClr val="02AE60"/>
                </a:gs>
                <a:gs pos="80000">
                  <a:srgbClr val="4F81BD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4F81BD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kern="0" dirty="0" smtClean="0">
                  <a:solidFill>
                    <a:prstClr val="black"/>
                  </a:solidFill>
                  <a:latin typeface="Calibri"/>
                </a:rPr>
                <a:t>Площадная закачка  пара (4тыс.т)</a:t>
              </a:r>
              <a:endParaRPr lang="ru-RU" sz="1200" b="1" kern="0" dirty="0" smtClean="0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5830979" y="1719229"/>
            <a:ext cx="61809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</a:rPr>
              <a:t>Геологические запасы составляют 4134 тыс. </a:t>
            </a:r>
            <a:r>
              <a:rPr lang="ru-RU" b="1" dirty="0" smtClean="0">
                <a:solidFill>
                  <a:srgbClr val="000000"/>
                </a:solidFill>
              </a:rPr>
              <a:t>т. Извлекаемые </a:t>
            </a:r>
            <a:r>
              <a:rPr lang="ru-RU" b="1" dirty="0">
                <a:solidFill>
                  <a:srgbClr val="000000"/>
                </a:solidFill>
              </a:rPr>
              <a:t>– 1124 </a:t>
            </a:r>
            <a:r>
              <a:rPr lang="ru-RU" b="1" dirty="0" err="1">
                <a:solidFill>
                  <a:srgbClr val="000000"/>
                </a:solidFill>
              </a:rPr>
              <a:t>тыс.т</a:t>
            </a:r>
            <a:r>
              <a:rPr lang="ru-RU" b="1" dirty="0">
                <a:solidFill>
                  <a:srgbClr val="000000"/>
                </a:solidFill>
              </a:rPr>
              <a:t>. Текущий КИН -  </a:t>
            </a:r>
            <a:r>
              <a:rPr lang="ru-RU" b="1" dirty="0" smtClean="0">
                <a:solidFill>
                  <a:srgbClr val="000000"/>
                </a:solidFill>
              </a:rPr>
              <a:t>0,06; </a:t>
            </a:r>
            <a:r>
              <a:rPr lang="ru-RU" b="1" dirty="0">
                <a:solidFill>
                  <a:srgbClr val="000000"/>
                </a:solidFill>
              </a:rPr>
              <a:t>проектный КИН – </a:t>
            </a:r>
            <a:r>
              <a:rPr lang="ru-RU" b="1" dirty="0" smtClean="0">
                <a:solidFill>
                  <a:srgbClr val="000000"/>
                </a:solidFill>
              </a:rPr>
              <a:t>0,28 </a:t>
            </a:r>
            <a:r>
              <a:rPr lang="ru-RU" b="1" dirty="0" err="1">
                <a:solidFill>
                  <a:srgbClr val="000000"/>
                </a:solidFill>
              </a:rPr>
              <a:t>д.ед</a:t>
            </a: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048596" y="4350581"/>
            <a:ext cx="5963372" cy="17543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0000"/>
                </a:solidFill>
              </a:rPr>
              <a:t>Пробуренный фонд – 364 </a:t>
            </a:r>
            <a:r>
              <a:rPr lang="ru-RU" b="1" dirty="0" err="1" smtClean="0">
                <a:solidFill>
                  <a:srgbClr val="000000"/>
                </a:solidFill>
              </a:rPr>
              <a:t>скв</a:t>
            </a:r>
            <a:r>
              <a:rPr lang="ru-RU" b="1" dirty="0" smtClean="0">
                <a:solidFill>
                  <a:srgbClr val="000000"/>
                </a:solidFill>
              </a:rPr>
              <a:t>.                   Скважины остановлены с 01.07.2011г.                              С начала разработки отобрано </a:t>
            </a:r>
            <a:r>
              <a:rPr lang="ru-RU" b="1" smtClean="0">
                <a:solidFill>
                  <a:srgbClr val="000000"/>
                </a:solidFill>
              </a:rPr>
              <a:t>- 226,368 </a:t>
            </a:r>
            <a:r>
              <a:rPr lang="ru-RU" b="1" dirty="0" smtClean="0">
                <a:solidFill>
                  <a:srgbClr val="000000"/>
                </a:solidFill>
              </a:rPr>
              <a:t>тыс. т.              С начала разработки закачка пара - 99,450 тыс.м</a:t>
            </a:r>
            <a:r>
              <a:rPr lang="ru-RU" b="1" baseline="30000" dirty="0" smtClean="0">
                <a:solidFill>
                  <a:srgbClr val="000000"/>
                </a:solidFill>
              </a:rPr>
              <a:t>3</a:t>
            </a:r>
            <a:r>
              <a:rPr lang="ru-RU" b="1" dirty="0" smtClean="0">
                <a:solidFill>
                  <a:srgbClr val="000000"/>
                </a:solidFill>
              </a:rPr>
              <a:t>;</a:t>
            </a:r>
            <a:r>
              <a:rPr lang="ru-RU" b="1" baseline="30000" dirty="0" smtClean="0">
                <a:solidFill>
                  <a:srgbClr val="000000"/>
                </a:solidFill>
              </a:rPr>
              <a:t>  </a:t>
            </a:r>
            <a:r>
              <a:rPr lang="ru-RU" b="1" dirty="0" smtClean="0">
                <a:solidFill>
                  <a:srgbClr val="000000"/>
                </a:solidFill>
              </a:rPr>
              <a:t>объем закачки воздуха -1034,127 тыс.м</a:t>
            </a:r>
            <a:r>
              <a:rPr lang="ru-RU" b="1" baseline="30000" dirty="0" smtClean="0">
                <a:solidFill>
                  <a:srgbClr val="000000"/>
                </a:solidFill>
              </a:rPr>
              <a:t>3</a:t>
            </a:r>
            <a:r>
              <a:rPr lang="ru-RU" b="1" dirty="0" smtClean="0">
                <a:solidFill>
                  <a:srgbClr val="000000"/>
                </a:solidFill>
              </a:rPr>
              <a:t>; закачка технологической жидкости (воды) -56,805</a:t>
            </a:r>
            <a:r>
              <a:rPr lang="ru-RU" b="1" dirty="0">
                <a:solidFill>
                  <a:srgbClr val="000000"/>
                </a:solidFill>
              </a:rPr>
              <a:t> тыс.м</a:t>
            </a:r>
            <a:r>
              <a:rPr lang="ru-RU" b="1" baseline="30000" dirty="0">
                <a:solidFill>
                  <a:srgbClr val="000000"/>
                </a:solidFill>
              </a:rPr>
              <a:t>3</a:t>
            </a:r>
            <a:r>
              <a:rPr lang="ru-RU" b="1" dirty="0" smtClean="0">
                <a:solidFill>
                  <a:srgbClr val="000000"/>
                </a:solidFill>
              </a:rPr>
              <a:t> </a:t>
            </a:r>
            <a:endParaRPr lang="ru-RU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423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 txBox="1">
            <a:spLocks noGrp="1"/>
          </p:cNvSpPr>
          <p:nvPr/>
        </p:nvSpPr>
        <p:spPr bwMode="auto">
          <a:xfrm>
            <a:off x="127819" y="42284"/>
            <a:ext cx="795338" cy="905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1E23C063-146B-4BDD-B28C-5455C3D2CF43}" type="slidenum">
              <a:rPr lang="ru-RU" altLang="ru-RU" sz="3200" b="1">
                <a:solidFill>
                  <a:srgbClr val="FFFFFF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ru-RU" altLang="ru-RU" sz="3200" b="1" dirty="0">
              <a:solidFill>
                <a:srgbClr val="FFFFFF"/>
              </a:solidFill>
            </a:endParaRPr>
          </a:p>
        </p:txBody>
      </p:sp>
      <p:sp>
        <p:nvSpPr>
          <p:cNvPr id="5" name="Rectangle 157"/>
          <p:cNvSpPr>
            <a:spLocks noChangeArrowheads="1"/>
          </p:cNvSpPr>
          <p:nvPr/>
        </p:nvSpPr>
        <p:spPr bwMode="auto">
          <a:xfrm>
            <a:off x="2522342" y="264256"/>
            <a:ext cx="920754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kern="0" dirty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Месторождения с залежами в </a:t>
            </a:r>
            <a:r>
              <a:rPr lang="ru-RU" sz="2400" b="1" kern="0" dirty="0" err="1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доманиковых</a:t>
            </a:r>
            <a:r>
              <a:rPr lang="ru-RU" sz="2400" b="1" kern="0" dirty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 отложениях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2194193" y="4483634"/>
            <a:ext cx="3325743" cy="2329742"/>
            <a:chOff x="120580" y="973163"/>
            <a:chExt cx="4803112" cy="5884837"/>
          </a:xfrm>
        </p:grpSpPr>
        <p:pic>
          <p:nvPicPr>
            <p:cNvPr id="1031" name="Picture 7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20580" y="973163"/>
              <a:ext cx="4561952" cy="5884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6" name="Прямоугольник 35"/>
            <p:cNvSpPr/>
            <p:nvPr/>
          </p:nvSpPr>
          <p:spPr>
            <a:xfrm>
              <a:off x="4602145" y="994787"/>
              <a:ext cx="321547" cy="48131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3" name="Полилиния 12"/>
          <p:cNvSpPr/>
          <p:nvPr/>
        </p:nvSpPr>
        <p:spPr>
          <a:xfrm>
            <a:off x="6312025" y="5423527"/>
            <a:ext cx="621451" cy="352465"/>
          </a:xfrm>
          <a:custGeom>
            <a:avLst/>
            <a:gdLst>
              <a:gd name="connsiteX0" fmla="*/ 0 w 813916"/>
              <a:gd name="connsiteY0" fmla="*/ 231112 h 512465"/>
              <a:gd name="connsiteX1" fmla="*/ 361740 w 813916"/>
              <a:gd name="connsiteY1" fmla="*/ 512465 h 512465"/>
              <a:gd name="connsiteX2" fmla="*/ 643094 w 813916"/>
              <a:gd name="connsiteY2" fmla="*/ 361740 h 512465"/>
              <a:gd name="connsiteX3" fmla="*/ 813916 w 813916"/>
              <a:gd name="connsiteY3" fmla="*/ 160773 h 512465"/>
              <a:gd name="connsiteX4" fmla="*/ 572756 w 813916"/>
              <a:gd name="connsiteY4" fmla="*/ 0 h 512465"/>
              <a:gd name="connsiteX5" fmla="*/ 231112 w 813916"/>
              <a:gd name="connsiteY5" fmla="*/ 60290 h 512465"/>
              <a:gd name="connsiteX6" fmla="*/ 0 w 813916"/>
              <a:gd name="connsiteY6" fmla="*/ 231112 h 51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3916" h="512465">
                <a:moveTo>
                  <a:pt x="0" y="231112"/>
                </a:moveTo>
                <a:lnTo>
                  <a:pt x="361740" y="512465"/>
                </a:lnTo>
                <a:lnTo>
                  <a:pt x="643094" y="361740"/>
                </a:lnTo>
                <a:lnTo>
                  <a:pt x="813916" y="160773"/>
                </a:lnTo>
                <a:lnTo>
                  <a:pt x="572756" y="0"/>
                </a:lnTo>
                <a:lnTo>
                  <a:pt x="231112" y="60290"/>
                </a:lnTo>
                <a:lnTo>
                  <a:pt x="0" y="23111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4" name="Полилиния 13"/>
          <p:cNvSpPr/>
          <p:nvPr/>
        </p:nvSpPr>
        <p:spPr>
          <a:xfrm>
            <a:off x="6332121" y="5933313"/>
            <a:ext cx="601355" cy="350919"/>
          </a:xfrm>
          <a:custGeom>
            <a:avLst/>
            <a:gdLst>
              <a:gd name="connsiteX0" fmla="*/ 0 w 813916"/>
              <a:gd name="connsiteY0" fmla="*/ 231112 h 512465"/>
              <a:gd name="connsiteX1" fmla="*/ 361740 w 813916"/>
              <a:gd name="connsiteY1" fmla="*/ 512465 h 512465"/>
              <a:gd name="connsiteX2" fmla="*/ 643094 w 813916"/>
              <a:gd name="connsiteY2" fmla="*/ 361740 h 512465"/>
              <a:gd name="connsiteX3" fmla="*/ 813916 w 813916"/>
              <a:gd name="connsiteY3" fmla="*/ 160773 h 512465"/>
              <a:gd name="connsiteX4" fmla="*/ 572756 w 813916"/>
              <a:gd name="connsiteY4" fmla="*/ 0 h 512465"/>
              <a:gd name="connsiteX5" fmla="*/ 231112 w 813916"/>
              <a:gd name="connsiteY5" fmla="*/ 60290 h 512465"/>
              <a:gd name="connsiteX6" fmla="*/ 0 w 813916"/>
              <a:gd name="connsiteY6" fmla="*/ 231112 h 512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3916" h="512465">
                <a:moveTo>
                  <a:pt x="0" y="231112"/>
                </a:moveTo>
                <a:lnTo>
                  <a:pt x="361740" y="512465"/>
                </a:lnTo>
                <a:lnTo>
                  <a:pt x="643094" y="361740"/>
                </a:lnTo>
                <a:lnTo>
                  <a:pt x="813916" y="160773"/>
                </a:lnTo>
                <a:lnTo>
                  <a:pt x="572756" y="0"/>
                </a:lnTo>
                <a:lnTo>
                  <a:pt x="231112" y="60290"/>
                </a:lnTo>
                <a:lnTo>
                  <a:pt x="0" y="231112"/>
                </a:lnTo>
                <a:close/>
              </a:path>
            </a:pathLst>
          </a:cu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104112" y="5324299"/>
            <a:ext cx="304403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Лицензионные границы месторождений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Южно-Татарского свод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Утвержденные месторождения нефт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err="1">
                <a:solidFill>
                  <a:srgbClr val="000000"/>
                </a:solidFill>
              </a:rPr>
              <a:t>доманиковых</a:t>
            </a:r>
            <a:r>
              <a:rPr lang="ru-RU" sz="1200" dirty="0">
                <a:solidFill>
                  <a:srgbClr val="000000"/>
                </a:solidFill>
              </a:rPr>
              <a:t> отложений</a:t>
            </a:r>
          </a:p>
        </p:txBody>
      </p:sp>
      <p:sp>
        <p:nvSpPr>
          <p:cNvPr id="3" name="Полилиния 2"/>
          <p:cNvSpPr/>
          <p:nvPr/>
        </p:nvSpPr>
        <p:spPr>
          <a:xfrm>
            <a:off x="2716440" y="5217137"/>
            <a:ext cx="317405" cy="194372"/>
          </a:xfrm>
          <a:custGeom>
            <a:avLst/>
            <a:gdLst>
              <a:gd name="connsiteX0" fmla="*/ 86206 w 317115"/>
              <a:gd name="connsiteY0" fmla="*/ 187806 h 264776"/>
              <a:gd name="connsiteX1" fmla="*/ 73891 w 317115"/>
              <a:gd name="connsiteY1" fmla="*/ 237066 h 264776"/>
              <a:gd name="connsiteX2" fmla="*/ 36946 w 317115"/>
              <a:gd name="connsiteY2" fmla="*/ 227830 h 264776"/>
              <a:gd name="connsiteX3" fmla="*/ 0 w 317115"/>
              <a:gd name="connsiteY3" fmla="*/ 203200 h 264776"/>
              <a:gd name="connsiteX4" fmla="*/ 40025 w 317115"/>
              <a:gd name="connsiteY4" fmla="*/ 160097 h 264776"/>
              <a:gd name="connsiteX5" fmla="*/ 43103 w 317115"/>
              <a:gd name="connsiteY5" fmla="*/ 86206 h 264776"/>
              <a:gd name="connsiteX6" fmla="*/ 138546 w 317115"/>
              <a:gd name="connsiteY6" fmla="*/ 15394 h 264776"/>
              <a:gd name="connsiteX7" fmla="*/ 218594 w 317115"/>
              <a:gd name="connsiteY7" fmla="*/ 0 h 264776"/>
              <a:gd name="connsiteX8" fmla="*/ 286328 w 317115"/>
              <a:gd name="connsiteY8" fmla="*/ 33866 h 264776"/>
              <a:gd name="connsiteX9" fmla="*/ 317115 w 317115"/>
              <a:gd name="connsiteY9" fmla="*/ 123151 h 264776"/>
              <a:gd name="connsiteX10" fmla="*/ 283249 w 317115"/>
              <a:gd name="connsiteY10" fmla="*/ 197042 h 264776"/>
              <a:gd name="connsiteX11" fmla="*/ 233988 w 317115"/>
              <a:gd name="connsiteY11" fmla="*/ 212436 h 264776"/>
              <a:gd name="connsiteX12" fmla="*/ 175491 w 317115"/>
              <a:gd name="connsiteY12" fmla="*/ 264776 h 264776"/>
              <a:gd name="connsiteX13" fmla="*/ 126231 w 317115"/>
              <a:gd name="connsiteY13" fmla="*/ 252460 h 264776"/>
              <a:gd name="connsiteX14" fmla="*/ 86206 w 317115"/>
              <a:gd name="connsiteY14" fmla="*/ 187806 h 264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17115" h="264776">
                <a:moveTo>
                  <a:pt x="86206" y="187806"/>
                </a:moveTo>
                <a:lnTo>
                  <a:pt x="73891" y="237066"/>
                </a:lnTo>
                <a:lnTo>
                  <a:pt x="36946" y="227830"/>
                </a:lnTo>
                <a:lnTo>
                  <a:pt x="0" y="203200"/>
                </a:lnTo>
                <a:lnTo>
                  <a:pt x="40025" y="160097"/>
                </a:lnTo>
                <a:lnTo>
                  <a:pt x="43103" y="86206"/>
                </a:lnTo>
                <a:lnTo>
                  <a:pt x="138546" y="15394"/>
                </a:lnTo>
                <a:lnTo>
                  <a:pt x="218594" y="0"/>
                </a:lnTo>
                <a:lnTo>
                  <a:pt x="286328" y="33866"/>
                </a:lnTo>
                <a:lnTo>
                  <a:pt x="317115" y="123151"/>
                </a:lnTo>
                <a:lnTo>
                  <a:pt x="283249" y="197042"/>
                </a:lnTo>
                <a:lnTo>
                  <a:pt x="233988" y="212436"/>
                </a:lnTo>
                <a:lnTo>
                  <a:pt x="175491" y="264776"/>
                </a:lnTo>
                <a:lnTo>
                  <a:pt x="126231" y="252460"/>
                </a:lnTo>
                <a:lnTo>
                  <a:pt x="86206" y="187806"/>
                </a:lnTo>
                <a:close/>
              </a:path>
            </a:pathLst>
          </a:cu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1710755"/>
              </p:ext>
            </p:extLst>
          </p:nvPr>
        </p:nvGraphicFramePr>
        <p:xfrm>
          <a:off x="2048934" y="1014102"/>
          <a:ext cx="8000999" cy="3346977"/>
        </p:xfrm>
        <a:graphic>
          <a:graphicData uri="http://schemas.openxmlformats.org/drawingml/2006/table">
            <a:tbl>
              <a:tblPr/>
              <a:tblGrid>
                <a:gridCol w="668866"/>
                <a:gridCol w="1613851"/>
                <a:gridCol w="721192"/>
                <a:gridCol w="780690"/>
                <a:gridCol w="728134"/>
                <a:gridCol w="604142"/>
                <a:gridCol w="673745"/>
                <a:gridCol w="746497"/>
                <a:gridCol w="947416"/>
                <a:gridCol w="516466"/>
              </a:tblGrid>
              <a:tr h="23464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 п/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торождени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БЗ, млн.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ИЗ, млн.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Н                (по проекту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онд скв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быча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в.,           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2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кспл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ств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фти, т/су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дкости, т/су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85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банчинское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6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влинско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6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араевско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2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падно-Галицко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6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упавно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6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росовско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2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во-Елховско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01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райлинско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01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машкинско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69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20562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2495600" y="123826"/>
            <a:ext cx="81708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kern="0" dirty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Опыт подсчета запасов в </a:t>
            </a:r>
            <a:r>
              <a:rPr lang="ru-RU" sz="2400" b="1" kern="0" dirty="0" err="1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доманиковых</a:t>
            </a:r>
            <a:r>
              <a:rPr lang="ru-RU" sz="2400" b="1" kern="0" dirty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 отложениях</a:t>
            </a:r>
          </a:p>
        </p:txBody>
      </p:sp>
      <p:sp>
        <p:nvSpPr>
          <p:cNvPr id="10252" name="Номер слайда 3"/>
          <p:cNvSpPr txBox="1">
            <a:spLocks noGrp="1"/>
          </p:cNvSpPr>
          <p:nvPr/>
        </p:nvSpPr>
        <p:spPr bwMode="auto">
          <a:xfrm>
            <a:off x="196646" y="-12834"/>
            <a:ext cx="75565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EFCB7EE9-2BD7-4321-8112-F26959E0B8A4}" type="slidenum">
              <a:rPr lang="ru-RU" altLang="ru-RU" sz="32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ru-RU" altLang="ru-RU" sz="32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143671" y="968241"/>
            <a:ext cx="640871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6C3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Прирост извлекаемых запасов категорий (А+В1+С1)+(В2+С2) составил + 25,8 млн. тонн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308226" y="5925913"/>
            <a:ext cx="792088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1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остоянию на 01.04.2018 года на доманиковые отложения Бавлинского месторождения работают 20 скважин, из них 5 скважин ОРД, накопленная добыча нефти по ним составляет – 174 327 тонн, среднесуточный дебит нефти составляет 3,1 т/сут, средняя обводненность – 49,5%.</a:t>
            </a: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/>
          </p:nvPr>
        </p:nvGraphicFramePr>
        <p:xfrm>
          <a:off x="7320136" y="1807961"/>
          <a:ext cx="3120800" cy="3232724"/>
        </p:xfrm>
        <a:graphic>
          <a:graphicData uri="http://schemas.openxmlformats.org/drawingml/2006/table">
            <a:tbl>
              <a:tblPr/>
              <a:tblGrid>
                <a:gridCol w="624160">
                  <a:extLst>
                    <a:ext uri="{9D8B030D-6E8A-4147-A177-3AD203B41FA5}">
                      <a16:colId xmlns="" xmlns:a16="http://schemas.microsoft.com/office/drawing/2014/main" val="3193961593"/>
                    </a:ext>
                  </a:extLst>
                </a:gridCol>
                <a:gridCol w="624160">
                  <a:extLst>
                    <a:ext uri="{9D8B030D-6E8A-4147-A177-3AD203B41FA5}">
                      <a16:colId xmlns="" xmlns:a16="http://schemas.microsoft.com/office/drawing/2014/main" val="718303164"/>
                    </a:ext>
                  </a:extLst>
                </a:gridCol>
                <a:gridCol w="624160">
                  <a:extLst>
                    <a:ext uri="{9D8B030D-6E8A-4147-A177-3AD203B41FA5}">
                      <a16:colId xmlns="" xmlns:a16="http://schemas.microsoft.com/office/drawing/2014/main" val="1005635297"/>
                    </a:ext>
                  </a:extLst>
                </a:gridCol>
                <a:gridCol w="624160">
                  <a:extLst>
                    <a:ext uri="{9D8B030D-6E8A-4147-A177-3AD203B41FA5}">
                      <a16:colId xmlns="" xmlns:a16="http://schemas.microsoft.com/office/drawing/2014/main" val="3852598978"/>
                    </a:ext>
                  </a:extLst>
                </a:gridCol>
                <a:gridCol w="624160">
                  <a:extLst>
                    <a:ext uri="{9D8B030D-6E8A-4147-A177-3AD203B41FA5}">
                      <a16:colId xmlns="" xmlns:a16="http://schemas.microsoft.com/office/drawing/2014/main" val="992434139"/>
                    </a:ext>
                  </a:extLst>
                </a:gridCol>
              </a:tblGrid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№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важ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</a:t>
                      </a:r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_ф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</a:t>
                      </a:r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_ф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в_ф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79577364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8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5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,6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31549006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0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6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489319411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0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9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8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524298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4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,6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79076377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1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5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55907856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4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7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280485518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58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8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90712625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8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7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,7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22730625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1г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7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,4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874419690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2г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4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55847317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89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,4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490816884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15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8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,5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40942815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17Г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7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4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,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859749756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18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,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2805088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4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9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8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51177703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2/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04663353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7/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34897637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19/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45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72492037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3/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4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,4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25587671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п/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6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61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,6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17986882"/>
                  </a:ext>
                </a:extLst>
              </a:tr>
              <a:tr h="1469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5,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,3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,5</a:t>
                      </a:r>
                    </a:p>
                  </a:txBody>
                  <a:tcPr marL="7346" marR="7346" marT="734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524233812"/>
                  </a:ext>
                </a:extLst>
              </a:tr>
            </a:tbl>
          </a:graphicData>
        </a:graphic>
      </p:graphicFrame>
      <p:pic>
        <p:nvPicPr>
          <p:cNvPr id="35" name="Picture 2" descr="Y:\ОПиРГ\Базаревская Венера\Для през Бавлинское доманик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649" y="2846214"/>
            <a:ext cx="4040935" cy="2795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" descr="5 Приложение 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3447" y="1231743"/>
            <a:ext cx="3488603" cy="196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/>
          <p:cNvSpPr/>
          <p:nvPr/>
        </p:nvSpPr>
        <p:spPr>
          <a:xfrm>
            <a:off x="4511825" y="1408319"/>
            <a:ext cx="293535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err="1">
                <a:solidFill>
                  <a:srgbClr val="006C31"/>
                </a:solidFill>
                <a:latin typeface="Arial" panose="020B0604020202020204" pitchFamily="34" charset="0"/>
                <a:ea typeface="Calibri"/>
              </a:rPr>
              <a:t>Подсчетный</a:t>
            </a:r>
            <a:r>
              <a:rPr lang="ru-RU" sz="1100" b="1" dirty="0">
                <a:solidFill>
                  <a:srgbClr val="006C31"/>
                </a:solidFill>
                <a:latin typeface="Arial" panose="020B0604020202020204" pitchFamily="34" charset="0"/>
                <a:ea typeface="Calibri"/>
              </a:rPr>
              <a:t> план от 2014 года.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184364" y="3732436"/>
            <a:ext cx="293535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err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</a:rPr>
              <a:t>Подсчетный</a:t>
            </a:r>
            <a:r>
              <a:rPr lang="ru-RU" sz="11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</a:rPr>
              <a:t> план от 2016 года</a:t>
            </a:r>
          </a:p>
        </p:txBody>
      </p:sp>
    </p:spTree>
    <p:extLst>
      <p:ext uri="{BB962C8B-B14F-4D97-AF65-F5344CB8AC3E}">
        <p14:creationId xmlns:p14="http://schemas.microsoft.com/office/powerpoint/2010/main" val="20852806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307690" y="31252"/>
            <a:ext cx="1073682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FFFFFF"/>
                </a:solidFill>
                <a:latin typeface="PragmaticaITT"/>
              </a:rPr>
              <a:t>Сопоставление карт эффективных нефтенасыщенных толщин и подсчетных параметров в соответствии с традиционной и временной методиками подсчета запасов доманиковых отложений</a:t>
            </a:r>
            <a:endParaRPr lang="ru-RU" sz="2000" b="1" dirty="0">
              <a:solidFill>
                <a:srgbClr val="FFFFFF"/>
              </a:solidFill>
              <a:latin typeface="PragmaticaITT"/>
              <a:cs typeface="Times New Roman" panose="02020603050405020304" pitchFamily="18" charset="0"/>
            </a:endParaRPr>
          </a:p>
        </p:txBody>
      </p:sp>
      <p:sp>
        <p:nvSpPr>
          <p:cNvPr id="5" name="Номер слайда 11"/>
          <p:cNvSpPr txBox="1">
            <a:spLocks/>
          </p:cNvSpPr>
          <p:nvPr/>
        </p:nvSpPr>
        <p:spPr>
          <a:xfrm>
            <a:off x="234503" y="209763"/>
            <a:ext cx="747629" cy="58746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2215" dirty="0">
                <a:solidFill>
                  <a:srgbClr val="FFFFFF"/>
                </a:solidFill>
              </a:rPr>
              <a:t> </a:t>
            </a:r>
            <a:r>
              <a:rPr lang="ru-RU" altLang="ru-RU" dirty="0" smtClean="0">
                <a:solidFill>
                  <a:srgbClr val="FFFFFF"/>
                </a:solidFill>
              </a:rPr>
              <a:t>17</a:t>
            </a:r>
            <a:endParaRPr lang="ru-RU" altLang="ru-RU" dirty="0">
              <a:solidFill>
                <a:srgbClr val="FFFFFF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8467" y="1447761"/>
            <a:ext cx="4646175" cy="3265938"/>
          </a:xfrm>
          <a:prstGeom prst="rect">
            <a:avLst/>
          </a:prstGeom>
        </p:spPr>
      </p:pic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68060" y="4744570"/>
          <a:ext cx="6814688" cy="16503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80314">
                  <a:extLst>
                    <a:ext uri="{9D8B030D-6E8A-4147-A177-3AD203B41FA5}">
                      <a16:colId xmlns:a16="http://schemas.microsoft.com/office/drawing/2014/main" xmlns="" val="3275476050"/>
                    </a:ext>
                  </a:extLst>
                </a:gridCol>
                <a:gridCol w="1516740">
                  <a:extLst>
                    <a:ext uri="{9D8B030D-6E8A-4147-A177-3AD203B41FA5}">
                      <a16:colId xmlns:a16="http://schemas.microsoft.com/office/drawing/2014/main" xmlns="" val="1747793796"/>
                    </a:ext>
                  </a:extLst>
                </a:gridCol>
                <a:gridCol w="953118">
                  <a:extLst>
                    <a:ext uri="{9D8B030D-6E8A-4147-A177-3AD203B41FA5}">
                      <a16:colId xmlns:a16="http://schemas.microsoft.com/office/drawing/2014/main" xmlns="" val="174266745"/>
                    </a:ext>
                  </a:extLst>
                </a:gridCol>
                <a:gridCol w="1184954">
                  <a:extLst>
                    <a:ext uri="{9D8B030D-6E8A-4147-A177-3AD203B41FA5}">
                      <a16:colId xmlns:a16="http://schemas.microsoft.com/office/drawing/2014/main" xmlns="" val="3224440369"/>
                    </a:ext>
                  </a:extLst>
                </a:gridCol>
                <a:gridCol w="979562">
                  <a:extLst>
                    <a:ext uri="{9D8B030D-6E8A-4147-A177-3AD203B41FA5}">
                      <a16:colId xmlns:a16="http://schemas.microsoft.com/office/drawing/2014/main" xmlns="" val="740306259"/>
                    </a:ext>
                  </a:extLst>
                </a:gridCol>
              </a:tblGrid>
              <a:tr h="20574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 smtClean="0">
                          <a:effectLst/>
                        </a:rPr>
                        <a:t>Методика ПЗ</a:t>
                      </a:r>
                      <a:endParaRPr lang="ru-RU" sz="13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 err="1" smtClean="0">
                          <a:effectLst/>
                        </a:rPr>
                        <a:t>Средневзв</a:t>
                      </a:r>
                      <a:r>
                        <a:rPr lang="ru-RU" sz="1300" u="none" strike="noStrike" dirty="0" smtClean="0">
                          <a:effectLst/>
                        </a:rPr>
                        <a:t>. эффективная</a:t>
                      </a:r>
                      <a:endParaRPr lang="ru-RU" sz="13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ctr" fontAlgn="b"/>
                      <a:r>
                        <a:rPr lang="ru-RU" sz="1300" u="none" strike="noStrike" dirty="0" err="1">
                          <a:effectLst/>
                        </a:rPr>
                        <a:t>нефтенас</a:t>
                      </a:r>
                      <a:r>
                        <a:rPr lang="ru-RU" sz="1300" u="none" strike="noStrike" dirty="0">
                          <a:effectLst/>
                        </a:rPr>
                        <a:t>.</a:t>
                      </a:r>
                      <a:endParaRPr lang="ru-RU" sz="13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ctr" fontAlgn="b"/>
                      <a:r>
                        <a:rPr lang="ru-RU" sz="1300" u="none" strike="noStrike" dirty="0" smtClean="0">
                          <a:effectLst/>
                        </a:rPr>
                        <a:t>толщина, м</a:t>
                      </a:r>
                      <a:endParaRPr lang="ru-RU" sz="9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effectLst/>
                        </a:rPr>
                        <a:t>Коэффициенты</a:t>
                      </a:r>
                      <a:endParaRPr lang="ru-RU" sz="13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 err="1">
                          <a:effectLst/>
                        </a:rPr>
                        <a:t>Коэф</a:t>
                      </a:r>
                      <a:r>
                        <a:rPr lang="ru-RU" sz="1300" u="none" strike="noStrike" dirty="0">
                          <a:effectLst/>
                        </a:rPr>
                        <a:t>.</a:t>
                      </a:r>
                      <a:endParaRPr lang="ru-RU" sz="13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ctr" fontAlgn="b"/>
                      <a:r>
                        <a:rPr lang="ru-RU" sz="1300" u="none" strike="noStrike" dirty="0" smtClean="0">
                          <a:effectLst/>
                        </a:rPr>
                        <a:t>извлечения</a:t>
                      </a:r>
                      <a:endParaRPr lang="ru-RU" sz="13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ctr" fontAlgn="b"/>
                      <a:r>
                        <a:rPr lang="ru-RU" sz="1300" u="none" strike="noStrike" dirty="0" smtClean="0">
                          <a:effectLst/>
                        </a:rPr>
                        <a:t>нефти</a:t>
                      </a:r>
                      <a:endParaRPr lang="ru-RU" sz="13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02622470"/>
                  </a:ext>
                </a:extLst>
              </a:tr>
              <a:tr h="590843">
                <a:tc vMerge="1">
                  <a:txBody>
                    <a:bodyPr/>
                    <a:lstStyle/>
                    <a:p>
                      <a:pPr algn="ctr" fontAlgn="b"/>
                      <a:endParaRPr lang="ru-RU" sz="10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 smtClean="0">
                          <a:effectLst/>
                        </a:rPr>
                        <a:t>пористости</a:t>
                      </a:r>
                      <a:endParaRPr lang="ru-RU" sz="13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 err="1" smtClean="0">
                          <a:effectLst/>
                        </a:rPr>
                        <a:t>нефтенасы-щенности</a:t>
                      </a:r>
                      <a:r>
                        <a:rPr lang="ru-RU" sz="1300" u="none" strike="noStrike" dirty="0">
                          <a:effectLst/>
                        </a:rPr>
                        <a:t> </a:t>
                      </a:r>
                      <a:endParaRPr lang="ru-RU" sz="13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ru-RU" sz="10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82491569"/>
                  </a:ext>
                </a:extLst>
              </a:tr>
              <a:tr h="205740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 smtClean="0">
                          <a:effectLst/>
                        </a:rPr>
                        <a:t>Лицензия ТАТ НЭ №15930, залежь 444, доманиковые </a:t>
                      </a:r>
                      <a:r>
                        <a:rPr lang="ru-RU" sz="1300" u="none" strike="noStrike" dirty="0">
                          <a:effectLst/>
                        </a:rPr>
                        <a:t>отложения  </a:t>
                      </a:r>
                      <a:r>
                        <a:rPr lang="en-US" sz="1300" u="none" strike="noStrike" dirty="0">
                          <a:effectLst/>
                        </a:rPr>
                        <a:t>D3fr2</a:t>
                      </a:r>
                      <a:endParaRPr lang="en-US" sz="13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06056870"/>
                  </a:ext>
                </a:extLst>
              </a:tr>
              <a:tr h="22836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effectLst/>
                          <a:latin typeface="+mj-lt"/>
                        </a:rPr>
                        <a:t>Традиционная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effectLst/>
                          <a:latin typeface="+mj-lt"/>
                        </a:rPr>
                        <a:t>7,0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effectLst/>
                          <a:latin typeface="+mj-lt"/>
                        </a:rPr>
                        <a:t>0,06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effectLst/>
                          <a:latin typeface="+mj-lt"/>
                        </a:rPr>
                        <a:t>0,85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effectLst/>
                          <a:latin typeface="+mj-lt"/>
                        </a:rPr>
                        <a:t>0,2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02160047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effectLst/>
                          <a:latin typeface="+mj-lt"/>
                        </a:rPr>
                        <a:t>Временная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effectLst/>
                          <a:latin typeface="+mj-lt"/>
                        </a:rPr>
                        <a:t> </a:t>
                      </a:r>
                      <a:r>
                        <a:rPr lang="ru-RU" sz="1300" u="none" strike="noStrike" dirty="0" smtClean="0">
                          <a:effectLst/>
                          <a:latin typeface="+mj-lt"/>
                        </a:rPr>
                        <a:t>65,8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effectLst/>
                          <a:latin typeface="+mj-lt"/>
                        </a:rPr>
                        <a:t> </a:t>
                      </a:r>
                      <a:r>
                        <a:rPr lang="ru-RU" sz="1300" u="none" strike="noStrike" dirty="0" smtClean="0">
                          <a:effectLst/>
                          <a:latin typeface="+mj-lt"/>
                        </a:rPr>
                        <a:t>0,03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effectLst/>
                          <a:latin typeface="+mj-lt"/>
                        </a:rPr>
                        <a:t> </a:t>
                      </a:r>
                      <a:r>
                        <a:rPr lang="ru-RU" sz="1300" u="none" strike="noStrike" dirty="0" smtClean="0">
                          <a:effectLst/>
                          <a:latin typeface="+mj-lt"/>
                        </a:rPr>
                        <a:t>0,9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u="none" strike="noStrike" dirty="0">
                          <a:effectLst/>
                          <a:latin typeface="+mj-lt"/>
                        </a:rPr>
                        <a:t> </a:t>
                      </a:r>
                      <a:r>
                        <a:rPr lang="ru-RU" sz="1300" u="none" strike="noStrike" dirty="0" smtClean="0">
                          <a:effectLst/>
                          <a:latin typeface="+mj-lt"/>
                        </a:rPr>
                        <a:t>0,03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8126449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algn="ctr" fontAlgn="b"/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effectLst/>
                          <a:latin typeface="+mj-lt"/>
                        </a:rPr>
                        <a:t>+840%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effectLst/>
                          <a:latin typeface="+mj-lt"/>
                        </a:rPr>
                        <a:t>-50%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effectLst/>
                          <a:latin typeface="+mj-lt"/>
                        </a:rPr>
                        <a:t>+6%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effectLst/>
                          <a:latin typeface="+mj-lt"/>
                        </a:rPr>
                        <a:t>-85%</a:t>
                      </a:r>
                      <a:endParaRPr lang="ru-RU" sz="1300" b="0" i="0" u="none" strike="noStrike" dirty="0">
                        <a:effectLst/>
                        <a:latin typeface="+mj-lt"/>
                      </a:endParaRPr>
                    </a:p>
                  </a:txBody>
                  <a:tcPr marL="8792" marR="8792" marT="879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46844968"/>
                  </a:ext>
                </a:extLst>
              </a:tr>
            </a:tbl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2" y="1447761"/>
            <a:ext cx="4335407" cy="326593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422111" y="1173653"/>
            <a:ext cx="2754710" cy="348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62" dirty="0">
                <a:solidFill>
                  <a:srgbClr val="000000"/>
                </a:solidFill>
                <a:latin typeface="Arial" charset="0"/>
              </a:rPr>
              <a:t>Традиционная методик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36562" y="1106841"/>
            <a:ext cx="2754710" cy="348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62" dirty="0">
                <a:solidFill>
                  <a:srgbClr val="000000"/>
                </a:solidFill>
                <a:latin typeface="Arial" charset="0"/>
              </a:rPr>
              <a:t>Временная методика</a:t>
            </a:r>
          </a:p>
        </p:txBody>
      </p:sp>
    </p:spTree>
    <p:extLst>
      <p:ext uri="{BB962C8B-B14F-4D97-AF65-F5344CB8AC3E}">
        <p14:creationId xmlns:p14="http://schemas.microsoft.com/office/powerpoint/2010/main" val="3888672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2584090" y="130174"/>
            <a:ext cx="81708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kern="0" dirty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Ввод в разработку </a:t>
            </a:r>
            <a:r>
              <a:rPr lang="ru-RU" sz="2400" b="1" kern="0" dirty="0" err="1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доманиковых</a:t>
            </a:r>
            <a:r>
              <a:rPr lang="ru-RU" sz="2400" b="1" kern="0" dirty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 залежей</a:t>
            </a:r>
          </a:p>
        </p:txBody>
      </p:sp>
      <p:sp>
        <p:nvSpPr>
          <p:cNvPr id="10252" name="Номер слайда 3"/>
          <p:cNvSpPr txBox="1">
            <a:spLocks noGrp="1"/>
          </p:cNvSpPr>
          <p:nvPr/>
        </p:nvSpPr>
        <p:spPr bwMode="auto">
          <a:xfrm>
            <a:off x="216310" y="0"/>
            <a:ext cx="75565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EFCB7EE9-2BD7-4321-8112-F26959E0B8A4}" type="slidenum">
              <a:rPr lang="ru-RU" altLang="ru-RU" sz="320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ru-RU" altLang="ru-RU" sz="32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279651" y="981075"/>
            <a:ext cx="792088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урение новой горизонтальной скважины с производством многозонного ГРП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урение новых наклонно-направленных скважин с последующем проведением ГРП как кислотных, так и </a:t>
            </a:r>
            <a:r>
              <a:rPr lang="ru-RU" sz="1200" b="1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ппантных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</a:t>
            </a:r>
            <a:r>
              <a:rPr lang="ru-RU" sz="1200" b="1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ьшеобъёмных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ислотных обработок с объемом кислоты от 3 м</a:t>
            </a:r>
            <a:r>
              <a:rPr lang="ru-RU" sz="1200" b="1" baseline="30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более на метр перфорации;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нимация старого фонда скважин, после перехода на </a:t>
            </a:r>
            <a:r>
              <a:rPr lang="ru-RU" sz="1200" b="1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маниковые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ложения с производством ГРП или </a:t>
            </a:r>
            <a:r>
              <a:rPr lang="ru-RU" sz="1200" b="1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ьшеобъёмной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ислотной обработки, </a:t>
            </a:r>
            <a:r>
              <a:rPr lang="ru-RU" sz="1200" b="1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резка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боковых горизонтальных стволов;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е ОРД</a:t>
            </a:r>
          </a:p>
        </p:txBody>
      </p:sp>
      <p:pic>
        <p:nvPicPr>
          <p:cNvPr id="11" name="Рисунок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50"/>
          <a:stretch/>
        </p:blipFill>
        <p:spPr bwMode="auto">
          <a:xfrm>
            <a:off x="5951985" y="2929725"/>
            <a:ext cx="4639937" cy="1915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6040" y="4869161"/>
            <a:ext cx="4035902" cy="187773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9929" y="3310686"/>
            <a:ext cx="4402056" cy="2906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84186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84671" y="156647"/>
            <a:ext cx="10707329" cy="579654"/>
          </a:xfrm>
          <a:noFill/>
          <a:ln>
            <a:miter lim="800000"/>
            <a:headEnd/>
            <a:tailEnd/>
          </a:ln>
        </p:spPr>
        <p:txBody>
          <a:bodyPr vert="horz" wrap="square" lIns="166154" tIns="42203" rIns="84406" bIns="42203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400" b="1" dirty="0">
                <a:latin typeface="PragmaticaITT"/>
                <a:cs typeface="Arial" panose="020B0604020202020204" pitchFamily="34" charset="0"/>
              </a:rPr>
              <a:t>Эффективность  технологий добычи нетрадиционной нефти</a:t>
            </a: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auto">
          <a:xfrm>
            <a:off x="2063553" y="1295931"/>
            <a:ext cx="3651375" cy="262829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ru-RU" altLang="ru-RU" sz="1108" b="0" kern="0" dirty="0">
                <a:solidFill>
                  <a:srgbClr val="000000"/>
                </a:solidFill>
                <a:latin typeface="Arial" panose="020B0604020202020204" pitchFamily="34" charset="0"/>
              </a:rPr>
              <a:t>Аномалии в процессе закачки флюида </a:t>
            </a:r>
          </a:p>
        </p:txBody>
      </p:sp>
      <p:sp>
        <p:nvSpPr>
          <p:cNvPr id="25" name="Номер слайда 3"/>
          <p:cNvSpPr txBox="1">
            <a:spLocks noGrp="1"/>
          </p:cNvSpPr>
          <p:nvPr/>
        </p:nvSpPr>
        <p:spPr bwMode="auto">
          <a:xfrm>
            <a:off x="176981" y="0"/>
            <a:ext cx="798437" cy="905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</a:t>
            </a:r>
            <a:endParaRPr lang="ru-RU" altLang="ru-RU" sz="32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079777" y="927856"/>
            <a:ext cx="4320353" cy="338554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000000"/>
                </a:solidFill>
              </a:rPr>
              <a:t>Мониторинг </a:t>
            </a:r>
            <a:r>
              <a:rPr lang="ru-RU" sz="1600" dirty="0" err="1">
                <a:solidFill>
                  <a:srgbClr val="000000"/>
                </a:solidFill>
              </a:rPr>
              <a:t>гидроразрыва</a:t>
            </a:r>
            <a:r>
              <a:rPr lang="ru-RU" sz="1600" dirty="0">
                <a:solidFill>
                  <a:srgbClr val="000000"/>
                </a:solidFill>
              </a:rPr>
              <a:t> пласта (ГРП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675595" y="4122548"/>
            <a:ext cx="878123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          Говорить об эффективности ГРП на доманиковые отложения в РТ сегодня рано, поскольку проведено незначительное для статистики количество </a:t>
            </a:r>
            <a:r>
              <a:rPr lang="ru-RU" sz="1200" dirty="0" err="1">
                <a:solidFill>
                  <a:srgbClr val="000000"/>
                </a:solidFill>
              </a:rPr>
              <a:t>гидроразрывов</a:t>
            </a:r>
            <a:r>
              <a:rPr lang="ru-RU" sz="1200" dirty="0">
                <a:solidFill>
                  <a:srgbClr val="000000"/>
                </a:solidFill>
              </a:rPr>
              <a:t>. Сегодня мы только еще создаем научно-обоснованные технологии процесса ГРП.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           К сожалению, у нас единый подход к дизайну ГРП, составу реагента, </a:t>
            </a:r>
            <a:r>
              <a:rPr lang="ru-RU" sz="1200" dirty="0" err="1">
                <a:solidFill>
                  <a:srgbClr val="000000"/>
                </a:solidFill>
              </a:rPr>
              <a:t>проппанта</a:t>
            </a:r>
            <a:r>
              <a:rPr lang="ru-RU" sz="1200" dirty="0">
                <a:solidFill>
                  <a:srgbClr val="000000"/>
                </a:solidFill>
              </a:rPr>
              <a:t> для слабопроницаемых терригенных, карбонатных коллекторов и для </a:t>
            </a:r>
            <a:r>
              <a:rPr lang="ru-RU" sz="1200" dirty="0" err="1">
                <a:solidFill>
                  <a:srgbClr val="000000"/>
                </a:solidFill>
              </a:rPr>
              <a:t>доманиковых</a:t>
            </a:r>
            <a:r>
              <a:rPr lang="ru-RU" sz="1200" dirty="0">
                <a:solidFill>
                  <a:srgbClr val="000000"/>
                </a:solidFill>
              </a:rPr>
              <a:t> отложений. 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           В США стандартная длина ГС 1500-3000 м, количество портов ГРП более 40, объём закачки </a:t>
            </a:r>
            <a:r>
              <a:rPr lang="ru-RU" sz="1200" dirty="0" err="1">
                <a:solidFill>
                  <a:srgbClr val="000000"/>
                </a:solidFill>
              </a:rPr>
              <a:t>проппанта</a:t>
            </a:r>
            <a:r>
              <a:rPr lang="ru-RU" sz="1200" dirty="0">
                <a:solidFill>
                  <a:srgbClr val="000000"/>
                </a:solidFill>
              </a:rPr>
              <a:t> 6 т/м.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           В скважине № 2802Г длиной ГС 700 м, сделали 10 портов ГРП, всего закачали 1095 м</a:t>
            </a:r>
            <a:r>
              <a:rPr lang="ru-RU" sz="1200" baseline="30000" dirty="0">
                <a:solidFill>
                  <a:srgbClr val="000000"/>
                </a:solidFill>
              </a:rPr>
              <a:t>3</a:t>
            </a:r>
            <a:r>
              <a:rPr lang="ru-RU" sz="1200" dirty="0">
                <a:solidFill>
                  <a:srgbClr val="000000"/>
                </a:solidFill>
              </a:rPr>
              <a:t> жидкости разрыва и кислотной композиции. 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           Начальные дебиты нефти после проведения ГРП в США достигают до 500 т/</a:t>
            </a:r>
            <a:r>
              <a:rPr lang="ru-RU" sz="1200" dirty="0" err="1">
                <a:solidFill>
                  <a:srgbClr val="000000"/>
                </a:solidFill>
              </a:rPr>
              <a:t>сут</a:t>
            </a:r>
            <a:r>
              <a:rPr lang="ru-RU" sz="1200" dirty="0">
                <a:solidFill>
                  <a:srgbClr val="000000"/>
                </a:solidFill>
              </a:rPr>
              <a:t>. (в среднем от 250 до 400 т/</a:t>
            </a:r>
            <a:r>
              <a:rPr lang="ru-RU" sz="1200" dirty="0" err="1">
                <a:solidFill>
                  <a:srgbClr val="000000"/>
                </a:solidFill>
              </a:rPr>
              <a:t>сут</a:t>
            </a:r>
            <a:r>
              <a:rPr lang="ru-RU" sz="1200" dirty="0">
                <a:solidFill>
                  <a:srgbClr val="000000"/>
                </a:solidFill>
              </a:rPr>
              <a:t>.), у нас до 15 т/</a:t>
            </a:r>
            <a:r>
              <a:rPr lang="ru-RU" sz="1200" dirty="0" err="1">
                <a:solidFill>
                  <a:srgbClr val="000000"/>
                </a:solidFill>
              </a:rPr>
              <a:t>сут</a:t>
            </a:r>
            <a:r>
              <a:rPr lang="ru-RU" sz="1200" dirty="0">
                <a:solidFill>
                  <a:srgbClr val="000000"/>
                </a:solidFill>
              </a:rPr>
              <a:t>..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 Рентабельность извлечения сланцевой нефти в США с 2014 по 2016 годы снизилась с 50 до 23,3 </a:t>
            </a:r>
            <a:r>
              <a:rPr lang="ru-RU" sz="1200" dirty="0" err="1">
                <a:solidFill>
                  <a:srgbClr val="000000"/>
                </a:solidFill>
              </a:rPr>
              <a:t>долл</a:t>
            </a:r>
            <a:r>
              <a:rPr lang="ru-RU" sz="1200" dirty="0">
                <a:solidFill>
                  <a:srgbClr val="000000"/>
                </a:solidFill>
              </a:rPr>
              <a:t>/бар, при средней плотности сетки по сланцам 18 га/</a:t>
            </a:r>
            <a:r>
              <a:rPr lang="ru-RU" sz="1200" dirty="0" err="1">
                <a:solidFill>
                  <a:srgbClr val="000000"/>
                </a:solidFill>
              </a:rPr>
              <a:t>скв</a:t>
            </a:r>
            <a:r>
              <a:rPr lang="ru-RU" sz="120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27" name="Рисунок 26" descr="C:\Users\arr6282\Desktop\1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5690" y="1760580"/>
            <a:ext cx="4214286" cy="16168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6240" y="1891433"/>
            <a:ext cx="2304256" cy="1457481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79976" y="1599645"/>
            <a:ext cx="2376264" cy="212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7811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270" y="1550872"/>
            <a:ext cx="3876730" cy="3192634"/>
          </a:xfrm>
          <a:prstGeom prst="rect">
            <a:avLst/>
          </a:prstGeom>
        </p:spPr>
      </p:pic>
      <p:sp>
        <p:nvSpPr>
          <p:cNvPr id="5123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2579641" y="135546"/>
            <a:ext cx="7019192" cy="6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ru-RU" altLang="ru-RU" sz="2400" b="1" dirty="0">
                <a:latin typeface="PragmaticaITT"/>
                <a:cs typeface="Arial" panose="020B0604020202020204" pitchFamily="34" charset="0"/>
              </a:rPr>
              <a:t>Состояние </a:t>
            </a:r>
            <a:r>
              <a:rPr lang="ru-RU" altLang="ru-RU" sz="2400" b="1" dirty="0" err="1">
                <a:latin typeface="PragmaticaITT"/>
                <a:cs typeface="Arial" panose="020B0604020202020204" pitchFamily="34" charset="0"/>
              </a:rPr>
              <a:t>выработанности</a:t>
            </a:r>
            <a:r>
              <a:rPr lang="ru-RU" altLang="ru-RU" sz="2400" b="1" dirty="0">
                <a:latin typeface="PragmaticaITT"/>
                <a:cs typeface="Arial" panose="020B0604020202020204" pitchFamily="34" charset="0"/>
              </a:rPr>
              <a:t> запасов в РТ</a:t>
            </a:r>
          </a:p>
        </p:txBody>
      </p:sp>
      <p:sp>
        <p:nvSpPr>
          <p:cNvPr id="5124" name="Номер слайда 3"/>
          <p:cNvSpPr txBox="1">
            <a:spLocks noGrp="1"/>
          </p:cNvSpPr>
          <p:nvPr/>
        </p:nvSpPr>
        <p:spPr bwMode="auto">
          <a:xfrm>
            <a:off x="128771" y="5646"/>
            <a:ext cx="798437" cy="905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dirty="0">
                <a:solidFill>
                  <a:srgbClr val="FFFFFF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1" name="Овал 10"/>
          <p:cNvSpPr/>
          <p:nvPr/>
        </p:nvSpPr>
        <p:spPr>
          <a:xfrm flipV="1">
            <a:off x="7367619" y="5226742"/>
            <a:ext cx="129972" cy="42202"/>
          </a:xfrm>
          <a:prstGeom prst="ellipse">
            <a:avLst/>
          </a:prstGeom>
          <a:solidFill>
            <a:srgbClr val="996633"/>
          </a:solidFill>
          <a:ln>
            <a:solidFill>
              <a:srgbClr val="9966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126" name="TextBox 11"/>
          <p:cNvSpPr txBox="1">
            <a:spLocks noChangeArrowheads="1"/>
          </p:cNvSpPr>
          <p:nvPr/>
        </p:nvSpPr>
        <p:spPr bwMode="auto">
          <a:xfrm>
            <a:off x="7497592" y="5053196"/>
            <a:ext cx="2929405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923" dirty="0">
                <a:solidFill>
                  <a:srgbClr val="000000"/>
                </a:solidFill>
                <a:latin typeface="Arial" panose="020B0604020202020204" pitchFamily="34" charset="0"/>
              </a:rPr>
              <a:t>- подготовленные поднятия (260 структуры)</a:t>
            </a:r>
          </a:p>
        </p:txBody>
      </p:sp>
      <p:sp>
        <p:nvSpPr>
          <p:cNvPr id="13" name="Овал 12"/>
          <p:cNvSpPr/>
          <p:nvPr/>
        </p:nvSpPr>
        <p:spPr>
          <a:xfrm flipH="1">
            <a:off x="7367503" y="4995243"/>
            <a:ext cx="129975" cy="63030"/>
          </a:xfrm>
          <a:prstGeom prst="ellipse">
            <a:avLst/>
          </a:prstGeom>
          <a:solidFill>
            <a:srgbClr val="CC00CC"/>
          </a:solidFill>
          <a:ln>
            <a:solidFill>
              <a:srgbClr val="CC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128" name="TextBox 13"/>
          <p:cNvSpPr txBox="1">
            <a:spLocks noChangeArrowheads="1"/>
          </p:cNvSpPr>
          <p:nvPr/>
        </p:nvSpPr>
        <p:spPr bwMode="auto">
          <a:xfrm>
            <a:off x="7497591" y="4912459"/>
            <a:ext cx="1934702" cy="23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923" dirty="0">
                <a:solidFill>
                  <a:srgbClr val="000000"/>
                </a:solidFill>
                <a:latin typeface="Arial" panose="020B0604020202020204" pitchFamily="34" charset="0"/>
              </a:rPr>
              <a:t>- выявленные залежи нефти</a:t>
            </a:r>
          </a:p>
        </p:txBody>
      </p:sp>
      <p:sp>
        <p:nvSpPr>
          <p:cNvPr id="14" name="Овал 13"/>
          <p:cNvSpPr/>
          <p:nvPr/>
        </p:nvSpPr>
        <p:spPr>
          <a:xfrm flipH="1" flipV="1">
            <a:off x="7367558" y="5118545"/>
            <a:ext cx="129976" cy="62369"/>
          </a:xfrm>
          <a:prstGeom prst="ellipse">
            <a:avLst/>
          </a:prstGeom>
          <a:solidFill>
            <a:srgbClr val="0070C0"/>
          </a:solidFill>
          <a:ln>
            <a:solidFill>
              <a:srgbClr val="00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133" name="TextBox 11"/>
          <p:cNvSpPr txBox="1">
            <a:spLocks noChangeArrowheads="1"/>
          </p:cNvSpPr>
          <p:nvPr/>
        </p:nvSpPr>
        <p:spPr bwMode="auto">
          <a:xfrm>
            <a:off x="7497479" y="5166837"/>
            <a:ext cx="3196709" cy="376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923" dirty="0">
                <a:solidFill>
                  <a:srgbClr val="000000"/>
                </a:solidFill>
                <a:latin typeface="Arial" panose="020B0604020202020204" pitchFamily="34" charset="0"/>
              </a:rPr>
              <a:t>- выявленные поднятия (143 структуры ПАО «ТН»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923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134" name="Прямоугольник 2"/>
          <p:cNvSpPr>
            <a:spLocks noChangeArrowheads="1"/>
          </p:cNvSpPr>
          <p:nvPr/>
        </p:nvSpPr>
        <p:spPr bwMode="auto">
          <a:xfrm>
            <a:off x="6645181" y="4440584"/>
            <a:ext cx="2386336" cy="404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15" dirty="0">
                <a:solidFill>
                  <a:srgbClr val="C00000"/>
                </a:solidFill>
                <a:latin typeface="Arial" panose="020B0604020202020204" pitchFamily="34" charset="0"/>
              </a:rPr>
              <a:t>Эффективность поисково-разведочного бурения – 79%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817457" y="1168110"/>
            <a:ext cx="3876730" cy="248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15" dirty="0" smtClean="0">
                <a:solidFill>
                  <a:srgbClr val="000000"/>
                </a:solidFill>
              </a:rPr>
              <a:t>Схема лицензионных участков в Республике Татарстан</a:t>
            </a:r>
            <a:endParaRPr lang="ru-RU" sz="1015" dirty="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12952" y="1844824"/>
            <a:ext cx="5186109" cy="3896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           Волго-Уральская НГП является одним из старейших нефтегазодобывающих регионов России. Основные запасы активной нефти из традиционных песчаных и карбонатных коллекторов уже освоены. Степень выработки крупных месторождений достигает значений более 80-90% от НИЗ.</a:t>
            </a:r>
          </a:p>
          <a:p>
            <a:pPr algn="just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           Из недр Татарстана извлечено более 3,3 млрд. тонн нефти. Текущие извлекаемые запасы (ТИЗ) составляют 1,1 </a:t>
            </a:r>
            <a:r>
              <a:rPr lang="ru-RU" sz="1200" dirty="0" err="1">
                <a:solidFill>
                  <a:srgbClr val="000000"/>
                </a:solidFill>
              </a:rPr>
              <a:t>млрд.тонн</a:t>
            </a:r>
            <a:r>
              <a:rPr lang="ru-RU" sz="1200" dirty="0">
                <a:solidFill>
                  <a:srgbClr val="000000"/>
                </a:solidFill>
              </a:rPr>
              <a:t>, годовой отбор нефти в </a:t>
            </a:r>
            <a:r>
              <a:rPr lang="ru-RU" sz="1200" dirty="0" smtClean="0">
                <a:solidFill>
                  <a:srgbClr val="000000"/>
                </a:solidFill>
              </a:rPr>
              <a:t>2017 </a:t>
            </a:r>
            <a:r>
              <a:rPr lang="ru-RU" sz="1200" dirty="0">
                <a:solidFill>
                  <a:srgbClr val="000000"/>
                </a:solidFill>
              </a:rPr>
              <a:t>г. – </a:t>
            </a:r>
            <a:r>
              <a:rPr lang="ru-RU" sz="1200" dirty="0" smtClean="0">
                <a:solidFill>
                  <a:srgbClr val="000000"/>
                </a:solidFill>
              </a:rPr>
              <a:t>36,198 </a:t>
            </a:r>
            <a:r>
              <a:rPr lang="ru-RU" sz="1200" dirty="0" err="1" smtClean="0">
                <a:solidFill>
                  <a:srgbClr val="000000"/>
                </a:solidFill>
              </a:rPr>
              <a:t>млн.т</a:t>
            </a:r>
            <a:r>
              <a:rPr lang="ru-RU" sz="1200" dirty="0" smtClean="0">
                <a:solidFill>
                  <a:srgbClr val="000000"/>
                </a:solidFill>
              </a:rPr>
              <a:t>. Доля </a:t>
            </a:r>
            <a:r>
              <a:rPr lang="ru-RU" sz="1200" dirty="0" err="1">
                <a:solidFill>
                  <a:srgbClr val="000000"/>
                </a:solidFill>
              </a:rPr>
              <a:t>трудноизвлекаемых</a:t>
            </a:r>
            <a:r>
              <a:rPr lang="ru-RU" sz="1200" dirty="0">
                <a:solidFill>
                  <a:srgbClr val="000000"/>
                </a:solidFill>
              </a:rPr>
              <a:t> запасов составляет более 83% от ТИЗ. Сегодня накопленная добыча СВН составляет </a:t>
            </a:r>
            <a:r>
              <a:rPr lang="ru-RU" sz="1200" dirty="0" smtClean="0">
                <a:solidFill>
                  <a:srgbClr val="000000"/>
                </a:solidFill>
              </a:rPr>
              <a:t> 3,860 </a:t>
            </a:r>
            <a:r>
              <a:rPr lang="ru-RU" sz="1200" dirty="0" err="1">
                <a:solidFill>
                  <a:srgbClr val="000000"/>
                </a:solidFill>
              </a:rPr>
              <a:t>млн.т</a:t>
            </a:r>
            <a:r>
              <a:rPr lang="ru-RU" sz="1200" dirty="0">
                <a:solidFill>
                  <a:srgbClr val="000000"/>
                </a:solidFill>
              </a:rPr>
              <a:t>.</a:t>
            </a:r>
          </a:p>
          <a:p>
            <a:pPr algn="just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           В РТ работают еще 32 нефтедобывающие компании. Годовая добыча по ННК варьирует от 3 до 985 </a:t>
            </a:r>
            <a:r>
              <a:rPr lang="ru-RU" sz="1200" dirty="0" err="1">
                <a:solidFill>
                  <a:srgbClr val="000000"/>
                </a:solidFill>
              </a:rPr>
              <a:t>тыс.т</a:t>
            </a:r>
            <a:r>
              <a:rPr lang="ru-RU" sz="1200" dirty="0">
                <a:solidFill>
                  <a:srgbClr val="000000"/>
                </a:solidFill>
              </a:rPr>
              <a:t>, численность работников от 14 до 700 человек. Всего в ННК работают свыше 8 тыс. человек, общая годовая добыча нефти составляет более 7 </a:t>
            </a:r>
            <a:r>
              <a:rPr lang="ru-RU" sz="1200" dirty="0" err="1">
                <a:solidFill>
                  <a:srgbClr val="000000"/>
                </a:solidFill>
              </a:rPr>
              <a:t>млн.т</a:t>
            </a:r>
            <a:r>
              <a:rPr lang="ru-RU" sz="1200" dirty="0">
                <a:solidFill>
                  <a:srgbClr val="000000"/>
                </a:solidFill>
              </a:rPr>
              <a:t>.  </a:t>
            </a:r>
          </a:p>
          <a:p>
            <a:pPr algn="just" fontAlgn="base">
              <a:lnSpc>
                <a:spcPct val="14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</a:rPr>
              <a:t>           </a:t>
            </a:r>
          </a:p>
        </p:txBody>
      </p:sp>
    </p:spTree>
    <p:extLst>
      <p:ext uri="{BB962C8B-B14F-4D97-AF65-F5344CB8AC3E}">
        <p14:creationId xmlns:p14="http://schemas.microsoft.com/office/powerpoint/2010/main" val="1362027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35509" y="156647"/>
            <a:ext cx="10491019" cy="579654"/>
          </a:xfrm>
          <a:noFill/>
          <a:ln>
            <a:miter lim="800000"/>
            <a:headEnd/>
            <a:tailEnd/>
          </a:ln>
        </p:spPr>
        <p:txBody>
          <a:bodyPr vert="horz" wrap="square" lIns="166154" tIns="42203" rIns="84406" bIns="42203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b="1" dirty="0">
                <a:latin typeface="PragmaticaITT"/>
                <a:cs typeface="Times New Roman" panose="02020603050405020304" pitchFamily="18" charset="0"/>
              </a:rPr>
              <a:t>Пути изучения ТРИЗ: создания новых технологий освоения </a:t>
            </a:r>
            <a:r>
              <a:rPr lang="ru-RU" sz="2000" b="1" dirty="0" err="1">
                <a:latin typeface="PragmaticaITT"/>
                <a:cs typeface="Times New Roman" panose="02020603050405020304" pitchFamily="18" charset="0"/>
              </a:rPr>
              <a:t>доманиковых</a:t>
            </a:r>
            <a:r>
              <a:rPr lang="ru-RU" sz="2000" b="1" dirty="0">
                <a:latin typeface="PragmaticaITT"/>
                <a:cs typeface="Times New Roman" panose="02020603050405020304" pitchFamily="18" charset="0"/>
              </a:rPr>
              <a:t> отложений, разработки карбонатных пород, с залежами СВН, малых толщин</a:t>
            </a:r>
          </a:p>
        </p:txBody>
      </p:sp>
      <p:sp>
        <p:nvSpPr>
          <p:cNvPr id="25" name="Номер слайда 3"/>
          <p:cNvSpPr txBox="1">
            <a:spLocks noGrp="1"/>
          </p:cNvSpPr>
          <p:nvPr/>
        </p:nvSpPr>
        <p:spPr bwMode="auto">
          <a:xfrm>
            <a:off x="157318" y="29497"/>
            <a:ext cx="798437" cy="905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endParaRPr lang="ru-RU" altLang="ru-RU" sz="32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435509" y="1272795"/>
            <a:ext cx="87812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000000"/>
                </a:solidFill>
              </a:rPr>
              <a:t>          </a:t>
            </a:r>
            <a:r>
              <a:rPr lang="ru-RU" sz="16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а по законодательному утверждению статуса научно-технологического полигон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775520" y="1772816"/>
            <a:ext cx="8728244" cy="4821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lnSpc>
                <a:spcPct val="114000"/>
              </a:lnSpc>
              <a:spcAft>
                <a:spcPts val="600"/>
              </a:spcAft>
            </a:pP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Выполненные за </a:t>
            </a:r>
            <a:r>
              <a:rPr lang="ru-RU" sz="1600" kern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2-2017 </a:t>
            </a: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ы опытно-промышленные работы по освоению </a:t>
            </a:r>
            <a:r>
              <a:rPr lang="ru-RU" sz="1600" kern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маниковых</a:t>
            </a: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ложений в пределах разрабатываемых месторождений показали, что существующие технологии не всегда эффективны. Нефть получена в 23 скважинах, отрицательные результаты получены в 13 скважинах, в </a:t>
            </a:r>
            <a:r>
              <a:rPr lang="ru-RU" sz="1600" kern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.ч</a:t>
            </a: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3 скважины оказались </a:t>
            </a:r>
            <a:r>
              <a:rPr lang="ru-RU" sz="1600" kern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сприточными</a:t>
            </a: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а из 10 скважин получены притоки воды. Необходимо продолжить изучение причин и источников поступления воды или отсутствия притока.</a:t>
            </a:r>
          </a:p>
          <a:p>
            <a:pPr algn="just" fontAlgn="base">
              <a:lnSpc>
                <a:spcPct val="114000"/>
              </a:lnSpc>
              <a:spcAft>
                <a:spcPts val="600"/>
              </a:spcAft>
            </a:pP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По выполненным работам эффективность ГРП составляет 60 %, ОПЗ - 70 %. В основном отрицательные результаты получены по коллекторам с пористостью менее 3%. </a:t>
            </a:r>
          </a:p>
          <a:p>
            <a:pPr algn="just" fontAlgn="base">
              <a:lnSpc>
                <a:spcPct val="114000"/>
              </a:lnSpc>
              <a:spcAft>
                <a:spcPts val="600"/>
              </a:spcAft>
            </a:pP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Создание, опробование новых технологий и оборудования для геологоразведочных работ и дальнейшей разработки месторождений </a:t>
            </a:r>
            <a:r>
              <a:rPr lang="ru-RU" sz="1600" kern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ерхвязкой</a:t>
            </a: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ефти и </a:t>
            </a:r>
            <a:r>
              <a:rPr lang="ru-RU" sz="1600" kern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маниковых</a:t>
            </a: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ложений мы хотим начать в научных полигонах «</a:t>
            </a:r>
            <a:r>
              <a:rPr lang="ru-RU" sz="1600" kern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маник</a:t>
            </a: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(Булгарский лицензионный участок) и «Битум» (</a:t>
            </a:r>
            <a:r>
              <a:rPr lang="ru-RU" sz="1600" kern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лаурский</a:t>
            </a: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ru-RU" sz="1600" kern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зьминовский</a:t>
            </a: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лицензионные участки).</a:t>
            </a:r>
          </a:p>
          <a:p>
            <a:pPr algn="just" fontAlgn="base">
              <a:lnSpc>
                <a:spcPct val="114000"/>
              </a:lnSpc>
              <a:spcAft>
                <a:spcPts val="600"/>
              </a:spcAft>
            </a:pPr>
            <a:r>
              <a:rPr lang="ru-RU" sz="1600" kern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глашение </a:t>
            </a: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полигонам между Министерством природных ресурсов и экологии Российской Федерации и Республикой Татарстан 16.05.2015 г </a:t>
            </a:r>
            <a:r>
              <a:rPr lang="ru-RU" sz="1600" kern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исано, </a:t>
            </a:r>
            <a:r>
              <a:rPr lang="ru-RU" sz="16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 узаконить статус полигонов и начать работы.</a:t>
            </a:r>
          </a:p>
          <a:p>
            <a:pPr algn="just" fontAlgn="base">
              <a:lnSpc>
                <a:spcPct val="114000"/>
              </a:lnSpc>
              <a:spcAft>
                <a:spcPts val="600"/>
              </a:spcAft>
            </a:pPr>
            <a:r>
              <a:rPr lang="ru-RU" sz="1200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</a:p>
        </p:txBody>
      </p:sp>
    </p:spTree>
    <p:extLst>
      <p:ext uri="{BB962C8B-B14F-4D97-AF65-F5344CB8AC3E}">
        <p14:creationId xmlns:p14="http://schemas.microsoft.com/office/powerpoint/2010/main" val="35239287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580272" y="1273394"/>
            <a:ext cx="8947052" cy="5181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4408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   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предлагаемых ПАО «Татнефть» проектов по полигонам «Битум» и «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маник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направлено на:</a:t>
            </a:r>
          </a:p>
          <a:p>
            <a:pPr algn="just" defTabSz="84408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- ликвидацию существующего отставания в изучении ресурсной базы по 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удноизвлекаемым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апасам (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ИЗ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по РТ и РФ в целом; </a:t>
            </a:r>
          </a:p>
          <a:p>
            <a:pPr algn="just" defTabSz="84408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- создание новейших отечественных инновационных решений по разработке и внедрению новейших технологий поиска, разведки, разработки и освоения  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удноизвлекаемых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апасов; </a:t>
            </a:r>
          </a:p>
          <a:p>
            <a:pPr algn="just" defTabSz="84408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-  обеспечение роста внутреннего валового продукта;</a:t>
            </a:r>
          </a:p>
          <a:p>
            <a:pPr algn="just" defTabSz="84408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- создание импульса для развития российской промышленности, что позволит решить проблему 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портозамещения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algn="just" defTabSz="84408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- вовлечение в процесс более широкого круга ученых из ФАНО России для проведения фундаментальных исследовательских работ по 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ИЗ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студентов и аспирантов ВУЗов, ученых отраслевых институтов и опытных инженеров - производственников разных компаний для решения прикладных задач;</a:t>
            </a:r>
          </a:p>
          <a:p>
            <a:pPr algn="just" defTabSz="84408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Развитие предлагаемых ПАО «Татнефть» проектов по полигонам «Битум» и «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маник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наравне с основными направлениями, позволит Компании достичь:</a:t>
            </a:r>
          </a:p>
          <a:p>
            <a:pPr algn="just" defTabSz="844083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-   увеличения поступления в бюджет и занятости населения.</a:t>
            </a:r>
            <a:r>
              <a:rPr lang="ru-RU" sz="1600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sz="1600" dirty="0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66598" y="196895"/>
            <a:ext cx="63991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1</a:t>
            </a:r>
            <a:endParaRPr lang="ru-RU" altLang="ru-RU" sz="32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444166" y="258451"/>
            <a:ext cx="82238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Зачем нужны полигоны в РТ, в РФ</a:t>
            </a:r>
            <a:endParaRPr lang="ru-RU" sz="2400" b="1" dirty="0">
              <a:solidFill>
                <a:srgbClr val="000000"/>
              </a:solidFill>
              <a:latin typeface="PragmaticaIT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000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Прямоугольник 2"/>
          <p:cNvSpPr>
            <a:spLocks noChangeArrowheads="1"/>
          </p:cNvSpPr>
          <p:nvPr/>
        </p:nvSpPr>
        <p:spPr bwMode="auto">
          <a:xfrm>
            <a:off x="1179872" y="68590"/>
            <a:ext cx="1101212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Основные проблемы для полноценной реализации работ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по полигонам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7718367"/>
              </p:ext>
            </p:extLst>
          </p:nvPr>
        </p:nvGraphicFramePr>
        <p:xfrm>
          <a:off x="1587704" y="1253666"/>
          <a:ext cx="9803737" cy="5378489"/>
        </p:xfrm>
        <a:graphic>
          <a:graphicData uri="http://schemas.openxmlformats.org/drawingml/2006/table">
            <a:tbl>
              <a:tblPr firstRow="1" bandRow="1"/>
              <a:tblGrid>
                <a:gridCol w="36611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64449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79313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51914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№№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Проблема</a:t>
                      </a: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Пути решения</a:t>
                      </a: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900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</a:t>
                      </a: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Лицензии выдаются на геологическое изучение и добычу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УВ, а не на создание полигона для отработки технологий 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поисков и разработки. 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Внесение изменений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в ФЗ  «О недрах» по статусу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полигонов.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Правительством РФ 15.06.2017г. проект закона внесен </a:t>
                      </a:r>
                      <a:r>
                        <a:rPr lang="ru-RU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на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рассмотрение Госдумы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12118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</a:t>
                      </a: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Законодательно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не закреплен статус научных полигонов,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не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разработан механизм финансирования работ, не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определены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права и обязанности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участников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Распоряжением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Правительства РФ создать рабочую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группу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с привлечением МПР РФ, Минэнерго РФ,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Минэкономразвития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и Минфина РФ. </a:t>
                      </a: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47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Определить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и закрепить права, обязанности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координационных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советов.</a:t>
                      </a: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6079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</a:t>
                      </a: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Нет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механизма привлечения государственных средств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для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ведения работ по обеспечению деятельности научных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полигонов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Законодательно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закрепить механизм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финансирования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работ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права на интеллектуальную собственность , права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и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обязанности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участников,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недропользователей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научных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работников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6079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</a:t>
                      </a: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Выделение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и привлечение средств из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Роснедра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МПР РФ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на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этап ГРР со статусом собственности государства на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результат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работ и пробуренные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скважины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Постановлением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Правительства РФ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закрепить обеспечение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Государственной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поддержки включая субсидии и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совместные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НИОКР, налоговые вычеты затрат на НИОКР,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ОПР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 ГРР на научных полигонах из НДПИ компании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только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для тех компаний, которые реально участвуют в рамках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деятельности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научных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полигонов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96079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</a:t>
                      </a: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Выделение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субсидий на создание и приобретение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оборудования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 техники технологий, включив их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в перечень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инвестиционных проектов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Министерством </a:t>
                      </a:r>
                    </a:p>
                    <a:p>
                      <a:pPr algn="l" rtl="0" fontAlgn="ctr">
                        <a:lnSpc>
                          <a:spcPct val="1140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промышленности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и торговли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РФ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826" marR="5826" marT="582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79512" y="152495"/>
            <a:ext cx="81354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 dirty="0" smtClean="0">
                <a:solidFill>
                  <a:srgbClr val="FFFFFF"/>
                </a:solidFill>
                <a:latin typeface="PragmaticaITT"/>
                <a:cs typeface="Times New Roman" panose="02020603050405020304" pitchFamily="18" charset="0"/>
              </a:rPr>
              <a:t>22</a:t>
            </a:r>
            <a:endParaRPr lang="ru-RU" altLang="ru-RU" sz="3200" b="1" dirty="0">
              <a:solidFill>
                <a:srgbClr val="FFFFFF"/>
              </a:solidFill>
              <a:latin typeface="PragmaticaIT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787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04932" y="360228"/>
            <a:ext cx="8133911" cy="427522"/>
          </a:xfrm>
          <a:noFill/>
          <a:ln>
            <a:miter lim="800000"/>
            <a:headEnd/>
            <a:tailEnd/>
          </a:ln>
        </p:spPr>
        <p:txBody>
          <a:bodyPr vert="horz" wrap="square" lIns="166154" tIns="42203" rIns="84406" bIns="42203" numCol="1" anchor="ctr" anchorCtr="0" compatLnSpc="1">
            <a:prstTxWarp prst="textNoShape">
              <a:avLst/>
            </a:prstTxWarp>
          </a:bodyPr>
          <a:lstStyle/>
          <a:p>
            <a:r>
              <a:rPr lang="ru-RU" altLang="ru-RU" sz="2400" b="1" dirty="0">
                <a:solidFill>
                  <a:schemeClr val="bg1"/>
                </a:solidFill>
                <a:latin typeface="PragmaticaITT"/>
                <a:cs typeface="Times New Roman" panose="02020603050405020304" pitchFamily="18" charset="0"/>
              </a:rPr>
              <a:t>Программа работ на полигонах ПАО «Татнефть» </a:t>
            </a:r>
            <a:br>
              <a:rPr lang="ru-RU" altLang="ru-RU" sz="2400" b="1" dirty="0">
                <a:solidFill>
                  <a:schemeClr val="bg1"/>
                </a:solidFill>
                <a:latin typeface="PragmaticaITT"/>
                <a:cs typeface="Times New Roman" panose="02020603050405020304" pitchFamily="18" charset="0"/>
              </a:rPr>
            </a:br>
            <a:endParaRPr lang="ru-RU" altLang="ru-RU" sz="2400" dirty="0">
              <a:solidFill>
                <a:schemeClr val="bg1"/>
              </a:solidFill>
              <a:latin typeface="PragmaticaITT"/>
              <a:cs typeface="Times New Roman" panose="02020603050405020304" pitchFamily="18" charset="0"/>
            </a:endParaRPr>
          </a:p>
        </p:txBody>
      </p:sp>
      <p:pic>
        <p:nvPicPr>
          <p:cNvPr id="11" name="Picture 2" descr="C:\RRR\Документы\2015год\БВГ_полигоны\Доманик\доманик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6517" y="1463776"/>
            <a:ext cx="3758434" cy="191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1788" y="4327266"/>
            <a:ext cx="1821341" cy="212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4"/>
          <p:cNvSpPr>
            <a:spLocks noChangeArrowheads="1"/>
          </p:cNvSpPr>
          <p:nvPr/>
        </p:nvSpPr>
        <p:spPr bwMode="auto">
          <a:xfrm>
            <a:off x="8676786" y="3913710"/>
            <a:ext cx="1693935" cy="41362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931" tIns="35966" rIns="71931" bIns="35966">
            <a:spAutoFit/>
          </a:bodyPr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9pPr>
          </a:lstStyle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</a:rPr>
              <a:t>Полигон «Битум»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8" dirty="0" err="1">
                <a:solidFill>
                  <a:srgbClr val="000000"/>
                </a:solidFill>
                <a:latin typeface="Arial" panose="020B0604020202020204" pitchFamily="34" charset="0"/>
              </a:rPr>
              <a:t>Елаурский</a:t>
            </a: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</a:rPr>
              <a:t> участок</a:t>
            </a:r>
            <a:endParaRPr lang="ru-RU" altLang="ru-RU" sz="1385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Прямоугольник 4"/>
          <p:cNvSpPr>
            <a:spLocks noChangeArrowheads="1"/>
          </p:cNvSpPr>
          <p:nvPr/>
        </p:nvSpPr>
        <p:spPr bwMode="auto">
          <a:xfrm>
            <a:off x="6351491" y="1186674"/>
            <a:ext cx="3963461" cy="243130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931" tIns="35966" rIns="71931" bIns="35966">
            <a:spAutoFit/>
          </a:bodyPr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9pPr>
          </a:lstStyle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</a:rPr>
              <a:t>Полигон «</a:t>
            </a:r>
            <a:r>
              <a:rPr lang="ru-RU" altLang="ru-RU" sz="1108" dirty="0" err="1">
                <a:solidFill>
                  <a:srgbClr val="000000"/>
                </a:solidFill>
                <a:latin typeface="Arial" panose="020B0604020202020204" pitchFamily="34" charset="0"/>
              </a:rPr>
              <a:t>Доманик</a:t>
            </a: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</a:rPr>
              <a:t>» </a:t>
            </a:r>
            <a:r>
              <a:rPr lang="ru-RU" sz="1108" dirty="0">
                <a:solidFill>
                  <a:srgbClr val="000000"/>
                </a:solidFill>
                <a:latin typeface="Arial" panose="020B0604020202020204" pitchFamily="34" charset="0"/>
              </a:rPr>
              <a:t>Булгарский участок </a:t>
            </a:r>
            <a:endParaRPr lang="ru-RU" altLang="ru-RU" sz="1108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Номер слайда 3"/>
          <p:cNvSpPr txBox="1">
            <a:spLocks noGrp="1"/>
          </p:cNvSpPr>
          <p:nvPr/>
        </p:nvSpPr>
        <p:spPr bwMode="auto">
          <a:xfrm>
            <a:off x="218617" y="0"/>
            <a:ext cx="798437" cy="905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9pPr>
          </a:lstStyle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dirty="0" smtClean="0">
                <a:solidFill>
                  <a:srgbClr val="FFFFFF"/>
                </a:solidFill>
                <a:latin typeface="Arial" panose="020B0604020202020204" pitchFamily="34" charset="0"/>
              </a:rPr>
              <a:t>23</a:t>
            </a:r>
            <a:endParaRPr lang="ru-RU" altLang="ru-RU" sz="32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9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4097" y="4327266"/>
            <a:ext cx="2568872" cy="212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4"/>
          <p:cNvSpPr>
            <a:spLocks noChangeArrowheads="1"/>
          </p:cNvSpPr>
          <p:nvPr/>
        </p:nvSpPr>
        <p:spPr bwMode="auto">
          <a:xfrm>
            <a:off x="6017580" y="3903944"/>
            <a:ext cx="2484408" cy="41362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1931" tIns="35966" rIns="71931" bIns="35966">
            <a:spAutoFit/>
          </a:bodyPr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itchFamily="34" charset="0"/>
              </a:defRPr>
            </a:lvl9pPr>
          </a:lstStyle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8" dirty="0" err="1">
                <a:solidFill>
                  <a:srgbClr val="000000"/>
                </a:solidFill>
                <a:latin typeface="Arial" panose="020B0604020202020204" pitchFamily="34" charset="0"/>
              </a:rPr>
              <a:t>Полигон«Битум</a:t>
            </a: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</a:rPr>
              <a:t>»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8" dirty="0" err="1">
                <a:solidFill>
                  <a:srgbClr val="000000"/>
                </a:solidFill>
                <a:latin typeface="Arial" panose="020B0604020202020204" pitchFamily="34" charset="0"/>
              </a:rPr>
              <a:t>Кузьминовский</a:t>
            </a:r>
            <a:r>
              <a:rPr lang="ru-RU" sz="1108" dirty="0">
                <a:solidFill>
                  <a:srgbClr val="000000"/>
                </a:solidFill>
                <a:latin typeface="Arial" panose="020B0604020202020204" pitchFamily="34" charset="0"/>
              </a:rPr>
              <a:t> участок </a:t>
            </a:r>
            <a:endParaRPr lang="ru-RU" altLang="ru-RU" sz="1108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17835" y="1308222"/>
            <a:ext cx="5374031" cy="4172296"/>
          </a:xfrm>
          <a:prstGeom prst="rect">
            <a:avLst/>
          </a:prstGeom>
          <a:noFill/>
          <a:ln w="63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844083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92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Программа работ на полигонах предусматривает несколько этапов исследований:</a:t>
            </a:r>
          </a:p>
          <a:p>
            <a:pPr defTabSz="844083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ru-RU" sz="1292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844083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92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1. Геологоразведочные работы по поиску залежей нефти в нетрадиционных коллекторах или нетрадиционной нефти и попутных компонентов;</a:t>
            </a:r>
          </a:p>
          <a:p>
            <a:pPr algn="just" defTabSz="844083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ru-RU" sz="1292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844083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92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2. Изучение залежей, коллекторов, флюидов, оценка углеводородов и попутных компонентов, лабораторные анализы, подсчет геологических запасов нефти;</a:t>
            </a:r>
          </a:p>
          <a:p>
            <a:pPr algn="just" defTabSz="844083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ru-RU" sz="1292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844083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92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3. Создание и отработка техники и технологий извлечения нефти при опробовании и освоении отдельных объектов в скважинах;</a:t>
            </a:r>
          </a:p>
          <a:p>
            <a:pPr algn="just" defTabSz="844083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endParaRPr lang="ru-RU" sz="1292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844083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92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4. Оценка технологических показателей, экономической эффективности, составление технологической схемы разработки.</a:t>
            </a:r>
          </a:p>
        </p:txBody>
      </p:sp>
    </p:spTree>
    <p:extLst>
      <p:ext uri="{BB962C8B-B14F-4D97-AF65-F5344CB8AC3E}">
        <p14:creationId xmlns:p14="http://schemas.microsoft.com/office/powerpoint/2010/main" val="2467632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208213" y="1628775"/>
            <a:ext cx="77724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3200" b="1" dirty="0">
                <a:solidFill>
                  <a:srgbClr val="00A26A"/>
                </a:solidFill>
                <a:latin typeface="PragmaticaITT"/>
              </a:rPr>
              <a:t>БЛАГОДАРЮ ЗА ВНИМАНИЕ!</a:t>
            </a:r>
          </a:p>
        </p:txBody>
      </p:sp>
      <p:grpSp>
        <p:nvGrpSpPr>
          <p:cNvPr id="6" name="Group 6"/>
          <p:cNvGrpSpPr>
            <a:grpSpLocks/>
          </p:cNvGrpSpPr>
          <p:nvPr/>
        </p:nvGrpSpPr>
        <p:grpSpPr bwMode="auto">
          <a:xfrm>
            <a:off x="1524001" y="2420938"/>
            <a:ext cx="9147175" cy="3973512"/>
            <a:chOff x="-2" y="836"/>
            <a:chExt cx="5762" cy="2503"/>
          </a:xfrm>
        </p:grpSpPr>
        <p:pic>
          <p:nvPicPr>
            <p:cNvPr id="7" name="Picture 7" descr="01_TN_brand_Page_1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" y="1189"/>
              <a:ext cx="5760" cy="2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3787" y="2931"/>
              <a:ext cx="1542" cy="4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9" name="Text Box 9"/>
            <p:cNvSpPr txBox="1">
              <a:spLocks noChangeArrowheads="1"/>
            </p:cNvSpPr>
            <p:nvPr/>
          </p:nvSpPr>
          <p:spPr bwMode="auto">
            <a:xfrm>
              <a:off x="3468" y="3108"/>
              <a:ext cx="116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ru-RU" altLang="ru-RU" sz="1400">
                <a:solidFill>
                  <a:srgbClr val="000000"/>
                </a:solidFill>
                <a:latin typeface="Pragmatica" pitchFamily="34" charset="0"/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/>
          </p:nvSpPr>
          <p:spPr bwMode="auto">
            <a:xfrm>
              <a:off x="4150" y="1117"/>
              <a:ext cx="1610" cy="3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ru-RU" altLang="ru-RU">
                <a:solidFill>
                  <a:srgbClr val="000000"/>
                </a:solidFill>
              </a:endParaRPr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>
              <a:off x="3470" y="836"/>
              <a:ext cx="185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ru-RU" altLang="ru-RU" sz="1000">
                <a:solidFill>
                  <a:srgbClr val="000000"/>
                </a:solidFill>
                <a:latin typeface="Pragmatica MediumITT" charset="0"/>
              </a:endParaRPr>
            </a:p>
          </p:txBody>
        </p:sp>
      </p:grpSp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216310" y="-9832"/>
            <a:ext cx="755650" cy="981075"/>
          </a:xfrm>
        </p:spPr>
        <p:txBody>
          <a:bodyPr/>
          <a:lstStyle/>
          <a:p>
            <a:pPr>
              <a:defRPr/>
            </a:pPr>
            <a:fld id="{F9E5E489-98C7-454F-942D-042ADD642957}" type="slidenum">
              <a:rPr lang="ru-RU" sz="3200" smtClean="0">
                <a:solidFill>
                  <a:srgbClr val="FFFFFF"/>
                </a:solidFill>
              </a:rPr>
              <a:pPr>
                <a:defRPr/>
              </a:pPr>
              <a:t>24</a:t>
            </a:fld>
            <a:endParaRPr lang="ru-RU" sz="3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59955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>
            <a:graphicFrameLocks/>
          </p:cNvGraphicFramePr>
          <p:nvPr>
            <p:extLst/>
          </p:nvPr>
        </p:nvGraphicFramePr>
        <p:xfrm>
          <a:off x="1524001" y="1052737"/>
          <a:ext cx="5729841" cy="4752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074050" y="2249546"/>
            <a:ext cx="6619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16 %</a:t>
            </a:r>
          </a:p>
        </p:txBody>
      </p:sp>
      <p:sp>
        <p:nvSpPr>
          <p:cNvPr id="4" name="TextBox 2"/>
          <p:cNvSpPr txBox="1"/>
          <p:nvPr/>
        </p:nvSpPr>
        <p:spPr>
          <a:xfrm>
            <a:off x="3791765" y="3468062"/>
            <a:ext cx="5859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18 </a:t>
            </a:r>
            <a:r>
              <a:rPr lang="ru-RU" sz="1200" dirty="0">
                <a:solidFill>
                  <a:srgbClr val="000000"/>
                </a:solidFill>
              </a:rPr>
              <a:t>%</a:t>
            </a:r>
          </a:p>
        </p:txBody>
      </p:sp>
      <p:sp>
        <p:nvSpPr>
          <p:cNvPr id="5" name="TextBox 2"/>
          <p:cNvSpPr txBox="1"/>
          <p:nvPr/>
        </p:nvSpPr>
        <p:spPr>
          <a:xfrm>
            <a:off x="2309851" y="4077073"/>
            <a:ext cx="5040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1 %</a:t>
            </a:r>
          </a:p>
        </p:txBody>
      </p:sp>
      <p:sp>
        <p:nvSpPr>
          <p:cNvPr id="6" name="TextBox 2"/>
          <p:cNvSpPr txBox="1"/>
          <p:nvPr/>
        </p:nvSpPr>
        <p:spPr>
          <a:xfrm>
            <a:off x="3134939" y="2717433"/>
            <a:ext cx="5859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17 %</a:t>
            </a:r>
          </a:p>
        </p:txBody>
      </p:sp>
      <p:sp>
        <p:nvSpPr>
          <p:cNvPr id="7" name="TextBox 2"/>
          <p:cNvSpPr txBox="1"/>
          <p:nvPr/>
        </p:nvSpPr>
        <p:spPr>
          <a:xfrm>
            <a:off x="3756229" y="2249546"/>
            <a:ext cx="5859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11 %</a:t>
            </a:r>
          </a:p>
        </p:txBody>
      </p:sp>
      <p:sp>
        <p:nvSpPr>
          <p:cNvPr id="8" name="TextBox 2"/>
          <p:cNvSpPr txBox="1"/>
          <p:nvPr/>
        </p:nvSpPr>
        <p:spPr>
          <a:xfrm>
            <a:off x="4295800" y="1708665"/>
            <a:ext cx="5760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4 %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447800" y="79914"/>
            <a:ext cx="10744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FFFFFF"/>
                </a:solidFill>
                <a:latin typeface="PragmaticaITT"/>
              </a:rPr>
              <a:t>Структура текущих извлекаемых запасов нефт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FFFFFF"/>
                </a:solidFill>
                <a:latin typeface="PragmaticaITT"/>
              </a:rPr>
              <a:t>ПАО «Татнефть» (промышленная категория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330231" y="1148668"/>
            <a:ext cx="3257344" cy="408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rgbClr val="DE4040"/>
                </a:solidFill>
                <a:cs typeface="Arial" charset="0"/>
              </a:rPr>
              <a:t>Распределение текущих извлекаемых запасов нефти категории А+В1+С1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solidFill>
                <a:srgbClr val="DE4040"/>
              </a:solidFill>
              <a:cs typeface="Arial" charset="0"/>
            </a:endParaRPr>
          </a:p>
          <a:p>
            <a:pPr algn="just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По ПАО «Татнефть» на Государственном балансе учтены текущие извлекаемые запасы нефти в доманиковых отложениях в объёме 6766 </a:t>
            </a:r>
            <a:r>
              <a:rPr lang="ru-RU" sz="1200" b="1" dirty="0" err="1">
                <a:solidFill>
                  <a:srgbClr val="000000"/>
                </a:solidFill>
              </a:rPr>
              <a:t>тыс.т</a:t>
            </a:r>
            <a:r>
              <a:rPr lang="ru-RU" sz="1200" b="1" dirty="0">
                <a:solidFill>
                  <a:srgbClr val="000000"/>
                </a:solidFill>
              </a:rPr>
              <a:t>. (46,5 </a:t>
            </a:r>
            <a:r>
              <a:rPr lang="ru-RU" sz="1200" b="1" dirty="0" err="1">
                <a:solidFill>
                  <a:srgbClr val="000000"/>
                </a:solidFill>
              </a:rPr>
              <a:t>млн.т</a:t>
            </a:r>
            <a:r>
              <a:rPr lang="ru-RU" sz="1200" b="1" dirty="0">
                <a:solidFill>
                  <a:srgbClr val="000000"/>
                </a:solidFill>
              </a:rPr>
              <a:t>. по категориям А+В1+В2), геологические ресурсы которых оцениваются в Республике Татарстан до 15 </a:t>
            </a:r>
            <a:r>
              <a:rPr lang="ru-RU" sz="1200" b="1" dirty="0" err="1">
                <a:solidFill>
                  <a:srgbClr val="000000"/>
                </a:solidFill>
              </a:rPr>
              <a:t>млрд.т</a:t>
            </a:r>
            <a:r>
              <a:rPr lang="ru-RU" sz="1200" b="1" dirty="0">
                <a:solidFill>
                  <a:srgbClr val="000000"/>
                </a:solidFill>
              </a:rPr>
              <a:t>., а в Европейской части России до 409 </a:t>
            </a:r>
            <a:r>
              <a:rPr lang="ru-RU" sz="1200" b="1" dirty="0" err="1">
                <a:solidFill>
                  <a:srgbClr val="000000"/>
                </a:solidFill>
              </a:rPr>
              <a:t>млрд.т</a:t>
            </a:r>
            <a:r>
              <a:rPr lang="ru-RU" sz="1200" b="1" dirty="0">
                <a:solidFill>
                  <a:srgbClr val="000000"/>
                </a:solidFill>
              </a:rPr>
              <a:t>., извлекаемые при КИН=5% до 20,5 </a:t>
            </a:r>
            <a:r>
              <a:rPr lang="ru-RU" sz="1200" b="1" dirty="0" err="1">
                <a:solidFill>
                  <a:srgbClr val="000000"/>
                </a:solidFill>
              </a:rPr>
              <a:t>млрд.т</a:t>
            </a:r>
            <a:r>
              <a:rPr lang="ru-RU" sz="1200" b="1" dirty="0">
                <a:solidFill>
                  <a:srgbClr val="000000"/>
                </a:solidFill>
              </a:rPr>
              <a:t>. (по данным ВНИГНИ) на площади 492 тыс. </a:t>
            </a:r>
            <a:r>
              <a:rPr lang="ru-RU" sz="1200" b="1" dirty="0" err="1">
                <a:solidFill>
                  <a:srgbClr val="000000"/>
                </a:solidFill>
              </a:rPr>
              <a:t>кв.км</a:t>
            </a:r>
            <a:r>
              <a:rPr lang="ru-RU" sz="1200" b="1" dirty="0">
                <a:solidFill>
                  <a:srgbClr val="000000"/>
                </a:solidFill>
              </a:rPr>
              <a:t>.</a:t>
            </a:r>
            <a:endParaRPr lang="ru-RU" sz="1200" b="1" dirty="0">
              <a:solidFill>
                <a:srgbClr val="DE4040"/>
              </a:solidFill>
            </a:endParaRPr>
          </a:p>
        </p:txBody>
      </p:sp>
      <p:sp>
        <p:nvSpPr>
          <p:cNvPr id="11" name="Нашивка 6"/>
          <p:cNvSpPr/>
          <p:nvPr/>
        </p:nvSpPr>
        <p:spPr>
          <a:xfrm flipH="1">
            <a:off x="7074718" y="1200469"/>
            <a:ext cx="227127" cy="639000"/>
          </a:xfrm>
          <a:prstGeom prst="chevron">
            <a:avLst>
              <a:gd name="adj" fmla="val 57407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299263" y="5134892"/>
            <a:ext cx="3257344" cy="1532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Текущие извлекаемые запасы </a:t>
            </a:r>
            <a:r>
              <a:rPr lang="ru-RU" sz="1200" b="1" dirty="0" err="1">
                <a:solidFill>
                  <a:srgbClr val="000000"/>
                </a:solidFill>
              </a:rPr>
              <a:t>битуми-нозных</a:t>
            </a:r>
            <a:r>
              <a:rPr lang="ru-RU" sz="1200" b="1" dirty="0">
                <a:solidFill>
                  <a:srgbClr val="000000"/>
                </a:solidFill>
              </a:rPr>
              <a:t> нефтей учтены в объёме      117,1 </a:t>
            </a:r>
            <a:r>
              <a:rPr lang="ru-RU" sz="1200" b="1" dirty="0" err="1">
                <a:solidFill>
                  <a:srgbClr val="000000"/>
                </a:solidFill>
              </a:rPr>
              <a:t>млн.т</a:t>
            </a:r>
            <a:r>
              <a:rPr lang="ru-RU" sz="1200" b="1" dirty="0">
                <a:solidFill>
                  <a:srgbClr val="000000"/>
                </a:solidFill>
              </a:rPr>
              <a:t>. (140 млн. т. по категориям А+В1+С1+В1+С2) при ресурсах в Республике Татарстан от 2 до 7 </a:t>
            </a:r>
            <a:r>
              <a:rPr lang="ru-RU" sz="1200" b="1" dirty="0" err="1">
                <a:solidFill>
                  <a:srgbClr val="000000"/>
                </a:solidFill>
              </a:rPr>
              <a:t>млрд.т</a:t>
            </a:r>
            <a:r>
              <a:rPr lang="ru-RU" sz="1200" b="1" dirty="0">
                <a:solidFill>
                  <a:srgbClr val="000000"/>
                </a:solidFill>
              </a:rPr>
              <a:t>., в Российской Федерации до 115 </a:t>
            </a:r>
            <a:r>
              <a:rPr lang="ru-RU" sz="1200" b="1" dirty="0" err="1">
                <a:solidFill>
                  <a:srgbClr val="000000"/>
                </a:solidFill>
              </a:rPr>
              <a:t>млрд.т</a:t>
            </a:r>
            <a:r>
              <a:rPr lang="ru-RU" sz="1200" dirty="0">
                <a:solidFill>
                  <a:srgbClr val="000000"/>
                </a:solidFill>
              </a:rPr>
              <a:t>.</a:t>
            </a:r>
            <a:endParaRPr lang="ru-RU" dirty="0">
              <a:solidFill>
                <a:srgbClr val="DE4040"/>
              </a:solidFill>
              <a:cs typeface="Arial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788315" y="6021289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solidFill>
                  <a:srgbClr val="C00000"/>
                </a:solidFill>
                <a:cs typeface="Arial" charset="0"/>
              </a:rPr>
              <a:t>Доля трудноизвлекаемых запасов составляет 84 % </a:t>
            </a:r>
          </a:p>
        </p:txBody>
      </p:sp>
      <p:sp>
        <p:nvSpPr>
          <p:cNvPr id="14" name="Номер слайда 3"/>
          <p:cNvSpPr txBox="1">
            <a:spLocks noGrp="1"/>
          </p:cNvSpPr>
          <p:nvPr/>
        </p:nvSpPr>
        <p:spPr bwMode="auto">
          <a:xfrm>
            <a:off x="162638" y="0"/>
            <a:ext cx="798437" cy="905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1pPr>
            <a:lvl2pPr marL="742950" indent="-28575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2pPr>
            <a:lvl3pPr marL="11430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3pPr>
            <a:lvl4pPr marL="16002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4pPr>
            <a:lvl5pPr marL="2057400" indent="-228600"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Pragmatica MediumITT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dirty="0">
                <a:solidFill>
                  <a:srgbClr val="FFFFFF"/>
                </a:solidFill>
                <a:latin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46426342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Прямоугольник с двумя скругленными противолежащими углами 50"/>
          <p:cNvSpPr/>
          <p:nvPr/>
        </p:nvSpPr>
        <p:spPr>
          <a:xfrm>
            <a:off x="2261574" y="1455520"/>
            <a:ext cx="5202578" cy="677336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5520" y="2651314"/>
            <a:ext cx="5832648" cy="4012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Номер слайда 1"/>
          <p:cNvSpPr txBox="1">
            <a:spLocks/>
          </p:cNvSpPr>
          <p:nvPr/>
        </p:nvSpPr>
        <p:spPr bwMode="auto">
          <a:xfrm>
            <a:off x="10092445" y="5876945"/>
            <a:ext cx="566738" cy="981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base">
              <a:lnSpc>
                <a:spcPct val="200000"/>
              </a:lnSpc>
              <a:spcBef>
                <a:spcPts val="1200"/>
              </a:spcBef>
              <a:spcAft>
                <a:spcPct val="0"/>
              </a:spcAft>
              <a:buNone/>
              <a:defRPr/>
            </a:pPr>
            <a:r>
              <a:rPr lang="en-US" altLang="ru-RU" sz="2400" dirty="0">
                <a:solidFill>
                  <a:prstClr val="white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Pragmatica MediumITT" pitchFamily="34" charset="0"/>
                <a:cs typeface="Arial" charset="0"/>
              </a:rPr>
              <a:t>4</a:t>
            </a:r>
            <a:endParaRPr lang="ru-RU" altLang="ru-RU" sz="2400" dirty="0">
              <a:solidFill>
                <a:prstClr val="white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Pragmatica MediumITT" pitchFamily="34" charset="0"/>
              <a:cs typeface="Arial" charset="0"/>
            </a:endParaRPr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3330" y="2086098"/>
            <a:ext cx="1455078" cy="1741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0683" y="4625623"/>
            <a:ext cx="1451087" cy="1741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7717302" y="1412066"/>
            <a:ext cx="25947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85725" defTabSz="457200" fontAlgn="auto">
              <a:spcBef>
                <a:spcPts val="0"/>
              </a:spcBef>
              <a:spcAft>
                <a:spcPts val="1200"/>
              </a:spcAft>
              <a:defRPr sz="1400" b="1">
                <a:solidFill>
                  <a:srgbClr val="000000"/>
                </a:solidFill>
                <a:latin typeface="Arial"/>
              </a:defRPr>
            </a:lvl1pPr>
          </a:lstStyle>
          <a:p>
            <a:pPr algn="ctr"/>
            <a:r>
              <a:rPr lang="ru-RU" i="1" dirty="0">
                <a:solidFill>
                  <a:srgbClr val="FF0000"/>
                </a:solidFill>
                <a:latin typeface="Arial" panose="020B0604020202020204" pitchFamily="34" charset="0"/>
              </a:rPr>
              <a:t>10 % </a:t>
            </a:r>
            <a:r>
              <a:rPr lang="ru-RU" dirty="0">
                <a:solidFill>
                  <a:srgbClr val="00A268"/>
                </a:solidFill>
                <a:latin typeface="Arial" panose="020B0604020202020204" pitchFamily="34" charset="0"/>
              </a:rPr>
              <a:t>ФОНДА ЕЖЕГОДНО ОХВАЧЕНО МУН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7717302" y="3900698"/>
            <a:ext cx="25947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85725" algn="ctr" defTabSz="457200" fontAlgn="auto">
              <a:spcBef>
                <a:spcPts val="0"/>
              </a:spcBef>
              <a:spcAft>
                <a:spcPts val="1200"/>
              </a:spcAft>
              <a:defRPr sz="1800">
                <a:solidFill>
                  <a:srgbClr val="00A26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b="1" i="1" dirty="0">
                <a:solidFill>
                  <a:srgbClr val="FF0000"/>
                </a:solidFill>
              </a:rPr>
              <a:t>27 %</a:t>
            </a:r>
            <a:r>
              <a:rPr lang="ru-RU" sz="1400" b="1" dirty="0"/>
              <a:t> ГОДОВОЙ ДОБЫЧИ ОБЕСПЕЧЕНО МУН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349066" y="1458826"/>
            <a:ext cx="5115086" cy="56169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85725" defTabSz="457200" fontAlgn="auto">
              <a:spcBef>
                <a:spcPts val="0"/>
              </a:spcBef>
              <a:spcAft>
                <a:spcPts val="1200"/>
              </a:spcAft>
              <a:defRPr sz="1400" b="1">
                <a:solidFill>
                  <a:srgbClr val="000000"/>
                </a:solidFill>
                <a:latin typeface="Arial"/>
              </a:defRPr>
            </a:lvl1pPr>
          </a:lstStyle>
          <a:p>
            <a:pPr marL="180975" lvl="1" indent="-180975" fontAlgn="base">
              <a:spcBef>
                <a:spcPct val="0"/>
              </a:spcBef>
              <a:spcAft>
                <a:spcPts val="300"/>
              </a:spcAft>
              <a:buClr>
                <a:srgbClr val="00B47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kern="0" dirty="0">
                <a:solidFill>
                  <a:prstClr val="black"/>
                </a:solidFill>
                <a:cs typeface="Arial" panose="020B0604020202020204" pitchFamily="34" charset="0"/>
              </a:rPr>
              <a:t>Активный рост доли тепловых методов добычи</a:t>
            </a:r>
          </a:p>
          <a:p>
            <a:pPr marL="180975" lvl="1" indent="-180975" fontAlgn="base">
              <a:spcBef>
                <a:spcPct val="0"/>
              </a:spcBef>
              <a:spcAft>
                <a:spcPts val="300"/>
              </a:spcAft>
              <a:buClr>
                <a:srgbClr val="00B47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kern="0" dirty="0">
                <a:solidFill>
                  <a:prstClr val="black"/>
                </a:solidFill>
                <a:cs typeface="Arial" panose="020B0604020202020204" pitchFamily="34" charset="0"/>
              </a:rPr>
              <a:t>5,6 % добычи по компании</a:t>
            </a:r>
          </a:p>
        </p:txBody>
      </p:sp>
      <p:sp>
        <p:nvSpPr>
          <p:cNvPr id="38" name="Rectangle 52"/>
          <p:cNvSpPr>
            <a:spLocks noChangeArrowheads="1"/>
          </p:cNvSpPr>
          <p:nvPr/>
        </p:nvSpPr>
        <p:spPr bwMode="auto">
          <a:xfrm>
            <a:off x="2033562" y="2459976"/>
            <a:ext cx="5425618" cy="307777"/>
          </a:xfrm>
          <a:prstGeom prst="rect">
            <a:avLst/>
          </a:prstGeom>
          <a:noFill/>
          <a:extLst/>
        </p:spPr>
        <p:txBody>
          <a:bodyPr wrap="square">
            <a:spAutoFit/>
          </a:bodyPr>
          <a:lstStyle/>
          <a:p>
            <a:pPr marL="85725" algn="ctr" defTabSz="457200" fontAlgn="base">
              <a:spcBef>
                <a:spcPct val="0"/>
              </a:spcBef>
              <a:spcAft>
                <a:spcPts val="1200"/>
              </a:spcAft>
            </a:pPr>
            <a:r>
              <a:rPr lang="ru-RU" altLang="ru-RU" sz="1400" b="1" dirty="0">
                <a:solidFill>
                  <a:srgbClr val="00A268"/>
                </a:solidFill>
                <a:cs typeface="Arial" panose="020B0604020202020204" pitchFamily="34" charset="0"/>
              </a:rPr>
              <a:t>ДОПОЛНИТЕЛЬНАЯ ДОБЫЧА НЕФТИ, ТЫС. ТОНН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495600" y="-27384"/>
            <a:ext cx="79928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800" b="1" dirty="0">
                <a:solidFill>
                  <a:srgbClr val="FFFFFF"/>
                </a:solidFill>
                <a:latin typeface="PragmaticaITT"/>
              </a:rPr>
              <a:t>Повышение КИН с использованием </a:t>
            </a:r>
            <a:br>
              <a:rPr lang="ru-RU" altLang="ru-RU" sz="2800" b="1" dirty="0">
                <a:solidFill>
                  <a:srgbClr val="FFFFFF"/>
                </a:solidFill>
                <a:latin typeface="PragmaticaITT"/>
              </a:rPr>
            </a:br>
            <a:r>
              <a:rPr lang="ru-RU" altLang="ru-RU" sz="2800" b="1" dirty="0">
                <a:solidFill>
                  <a:srgbClr val="FFFFFF"/>
                </a:solidFill>
                <a:latin typeface="PragmaticaITT"/>
              </a:rPr>
              <a:t>высокоэффективных МУН</a:t>
            </a:r>
          </a:p>
        </p:txBody>
      </p:sp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76981" y="0"/>
            <a:ext cx="755650" cy="981075"/>
          </a:xfrm>
        </p:spPr>
        <p:txBody>
          <a:bodyPr/>
          <a:lstStyle/>
          <a:p>
            <a:pPr>
              <a:defRPr/>
            </a:pPr>
            <a:fld id="{43C0CCE0-3575-4A6D-B5A2-255098647C2B}" type="slidenum">
              <a:rPr lang="ru-RU" sz="3200" smtClean="0">
                <a:solidFill>
                  <a:srgbClr val="FFFFFF"/>
                </a:solidFill>
              </a:rPr>
              <a:pPr>
                <a:defRPr/>
              </a:pPr>
              <a:t>4</a:t>
            </a:fld>
            <a:endParaRPr lang="ru-RU" sz="3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7251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 Box 6"/>
          <p:cNvSpPr txBox="1">
            <a:spLocks noChangeArrowheads="1"/>
          </p:cNvSpPr>
          <p:nvPr/>
        </p:nvSpPr>
        <p:spPr bwMode="auto">
          <a:xfrm>
            <a:off x="2423592" y="292586"/>
            <a:ext cx="82444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800" b="1" dirty="0" smtClean="0">
                <a:solidFill>
                  <a:srgbClr val="FFFFFF"/>
                </a:solidFill>
                <a:latin typeface="PragmaticaITT"/>
                <a:cs typeface="Arial" panose="020B0604020202020204" pitchFamily="34" charset="0"/>
              </a:rPr>
              <a:t>Фонд скважин СВН на </a:t>
            </a:r>
            <a:r>
              <a:rPr lang="ru-RU" altLang="ru-RU" sz="2800" b="1" dirty="0">
                <a:solidFill>
                  <a:srgbClr val="FFFFFF"/>
                </a:solidFill>
                <a:latin typeface="PragmaticaITT"/>
                <a:cs typeface="Arial" panose="020B0604020202020204" pitchFamily="34" charset="0"/>
              </a:rPr>
              <a:t>01.04.2018г.</a:t>
            </a:r>
          </a:p>
        </p:txBody>
      </p:sp>
      <p:sp>
        <p:nvSpPr>
          <p:cNvPr id="3075" name="Номер слайда 2"/>
          <p:cNvSpPr txBox="1">
            <a:spLocks/>
          </p:cNvSpPr>
          <p:nvPr/>
        </p:nvSpPr>
        <p:spPr bwMode="auto">
          <a:xfrm>
            <a:off x="93133" y="2103"/>
            <a:ext cx="827088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3236839C-E0C0-4A44-9A56-34C09E607388}" type="slidenum">
              <a:rPr lang="ru-RU" altLang="ru-RU" sz="32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altLang="ru-RU" sz="3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4417393"/>
              </p:ext>
            </p:extLst>
          </p:nvPr>
        </p:nvGraphicFramePr>
        <p:xfrm>
          <a:off x="2027104" y="1553377"/>
          <a:ext cx="7921127" cy="4263527"/>
        </p:xfrm>
        <a:graphic>
          <a:graphicData uri="http://schemas.openxmlformats.org/drawingml/2006/table">
            <a:tbl>
              <a:tblPr/>
              <a:tblGrid>
                <a:gridCol w="4441035"/>
                <a:gridCol w="3480092"/>
              </a:tblGrid>
              <a:tr h="6138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казател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9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бурено, </a:t>
                      </a:r>
                      <a:r>
                        <a:rPr lang="ru-RU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кв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9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.ч.парных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кв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(для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SAGDI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9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.ч.пароциклических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кв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9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/ф добывающих, </a:t>
                      </a:r>
                      <a:r>
                        <a:rPr lang="ru-RU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кв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9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/ф нагнетательных, </a:t>
                      </a:r>
                      <a:r>
                        <a:rPr lang="ru-RU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кв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9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/ф добывающих, </a:t>
                      </a:r>
                      <a:r>
                        <a:rPr lang="ru-RU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кв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9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.ч.парных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кв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9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.ч.пароциклических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кв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9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/ф нагнетательных, </a:t>
                      </a:r>
                      <a:r>
                        <a:rPr lang="ru-RU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кв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9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.ч.парных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кв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79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.ч.пароциклических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, 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кв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62955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 Box 6"/>
          <p:cNvSpPr txBox="1">
            <a:spLocks noChangeArrowheads="1"/>
          </p:cNvSpPr>
          <p:nvPr/>
        </p:nvSpPr>
        <p:spPr bwMode="auto">
          <a:xfrm>
            <a:off x="2462921" y="292585"/>
            <a:ext cx="824440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dirty="0">
                <a:solidFill>
                  <a:srgbClr val="FFFFFF"/>
                </a:solidFill>
                <a:latin typeface="PragmaticaITT"/>
                <a:cs typeface="Arial" panose="020B0604020202020204" pitchFamily="34" charset="0"/>
              </a:rPr>
              <a:t>Добыча СВН на 01.04.2018г.</a:t>
            </a:r>
          </a:p>
        </p:txBody>
      </p:sp>
      <p:sp>
        <p:nvSpPr>
          <p:cNvPr id="3075" name="Номер слайда 2"/>
          <p:cNvSpPr txBox="1">
            <a:spLocks/>
          </p:cNvSpPr>
          <p:nvPr/>
        </p:nvSpPr>
        <p:spPr bwMode="auto">
          <a:xfrm>
            <a:off x="93133" y="2103"/>
            <a:ext cx="827088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3236839C-E0C0-4A44-9A56-34C09E607388}" type="slidenum">
              <a:rPr lang="ru-RU" altLang="ru-RU" sz="32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altLang="ru-RU" sz="3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1290592"/>
              </p:ext>
            </p:extLst>
          </p:nvPr>
        </p:nvGraphicFramePr>
        <p:xfrm>
          <a:off x="1685582" y="1565419"/>
          <a:ext cx="8174514" cy="4009117"/>
        </p:xfrm>
        <a:graphic>
          <a:graphicData uri="http://schemas.openxmlformats.org/drawingml/2006/table">
            <a:tbl>
              <a:tblPr/>
              <a:tblGrid>
                <a:gridCol w="4593297"/>
                <a:gridCol w="3581217"/>
              </a:tblGrid>
              <a:tr h="8916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казател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196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БЗ, </a:t>
                      </a:r>
                      <a:r>
                        <a:rPr lang="ru-RU" sz="16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лн.т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0.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196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ИЗ, </a:t>
                      </a:r>
                      <a:r>
                        <a:rPr lang="ru-RU" sz="16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лн.т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,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196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кущая добыча нефти, т/</a:t>
                      </a:r>
                      <a:r>
                        <a:rPr lang="ru-RU" sz="16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т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70,0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(37220 </a:t>
                      </a:r>
                      <a:r>
                        <a:rPr lang="en-US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b/d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196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кущая добыча жидкости, т/сут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750,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031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кущая закачка пара, т/</a:t>
                      </a:r>
                      <a:r>
                        <a:rPr lang="ru-RU" sz="16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т</a:t>
                      </a:r>
                      <a:endParaRPr lang="en-US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400,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930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НО,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т/т (текущее)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7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46048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 Box 6"/>
          <p:cNvSpPr txBox="1">
            <a:spLocks noChangeArrowheads="1"/>
          </p:cNvSpPr>
          <p:nvPr/>
        </p:nvSpPr>
        <p:spPr bwMode="auto">
          <a:xfrm>
            <a:off x="2423592" y="292586"/>
            <a:ext cx="824440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dirty="0">
                <a:solidFill>
                  <a:srgbClr val="FFFFFF"/>
                </a:solidFill>
                <a:latin typeface="PragmaticaITT"/>
                <a:cs typeface="Arial" panose="020B0604020202020204" pitchFamily="34" charset="0"/>
              </a:rPr>
              <a:t>Динамика добычи СВН</a:t>
            </a:r>
          </a:p>
        </p:txBody>
      </p:sp>
      <p:sp>
        <p:nvSpPr>
          <p:cNvPr id="3075" name="Номер слайда 2"/>
          <p:cNvSpPr txBox="1">
            <a:spLocks/>
          </p:cNvSpPr>
          <p:nvPr/>
        </p:nvSpPr>
        <p:spPr bwMode="auto">
          <a:xfrm>
            <a:off x="135467" y="0"/>
            <a:ext cx="827088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3236839C-E0C0-4A44-9A56-34C09E607388}" type="slidenum">
              <a:rPr lang="ru-RU" altLang="ru-RU" sz="32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altLang="ru-RU" sz="3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/>
          </p:nvPr>
        </p:nvGraphicFramePr>
        <p:xfrm>
          <a:off x="1524000" y="993776"/>
          <a:ext cx="9108504" cy="5315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927217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 Box 6"/>
          <p:cNvSpPr txBox="1">
            <a:spLocks noChangeArrowheads="1"/>
          </p:cNvSpPr>
          <p:nvPr/>
        </p:nvSpPr>
        <p:spPr bwMode="auto">
          <a:xfrm>
            <a:off x="2423592" y="292586"/>
            <a:ext cx="799288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dirty="0">
                <a:solidFill>
                  <a:srgbClr val="FFFFFF"/>
                </a:solidFill>
                <a:latin typeface="PragmaticaITT"/>
                <a:cs typeface="Arial" panose="020B0604020202020204" pitchFamily="34" charset="0"/>
              </a:rPr>
              <a:t>Показатели разработки скважин СВН</a:t>
            </a:r>
          </a:p>
        </p:txBody>
      </p:sp>
      <p:sp>
        <p:nvSpPr>
          <p:cNvPr id="3075" name="Номер слайда 2"/>
          <p:cNvSpPr txBox="1">
            <a:spLocks/>
          </p:cNvSpPr>
          <p:nvPr/>
        </p:nvSpPr>
        <p:spPr bwMode="auto">
          <a:xfrm>
            <a:off x="118533" y="0"/>
            <a:ext cx="827088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Pragmatica MediumIT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ragmatica MediumIT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ragmatica MediumIT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0830518"/>
              </p:ext>
            </p:extLst>
          </p:nvPr>
        </p:nvGraphicFramePr>
        <p:xfrm>
          <a:off x="2447122" y="981075"/>
          <a:ext cx="6997377" cy="27952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7122" y="3914163"/>
            <a:ext cx="6997378" cy="294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0723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2024" y="1196752"/>
            <a:ext cx="4032448" cy="2645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58529" y="-45538"/>
            <a:ext cx="10746657" cy="1072150"/>
          </a:xfrm>
          <a:noFill/>
          <a:ln>
            <a:miter lim="800000"/>
            <a:headEnd/>
            <a:tailEnd/>
          </a:ln>
        </p:spPr>
        <p:txBody>
          <a:bodyPr vert="horz" wrap="square" lIns="18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altLang="ru-RU" sz="2400" b="1" dirty="0">
                <a:latin typeface="PragmaticaITT"/>
                <a:cs typeface="Arial" panose="020B0604020202020204" pitchFamily="34" charset="0"/>
              </a:rPr>
              <a:t>Инновации Компании «Татнефть» </a:t>
            </a:r>
            <a:br>
              <a:rPr lang="ru-RU" altLang="ru-RU" sz="2400" b="1" dirty="0">
                <a:latin typeface="PragmaticaITT"/>
                <a:cs typeface="Arial" panose="020B0604020202020204" pitchFamily="34" charset="0"/>
              </a:rPr>
            </a:br>
            <a:r>
              <a:rPr lang="ru-RU" altLang="ru-RU" sz="2400" b="1" dirty="0">
                <a:latin typeface="PragmaticaITT"/>
                <a:cs typeface="Arial" panose="020B0604020202020204" pitchFamily="34" charset="0"/>
              </a:rPr>
              <a:t>в развитии и внедрении технологий добычи СВН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951984" y="3861049"/>
            <a:ext cx="504056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300" b="1" kern="0" dirty="0">
                <a:solidFill>
                  <a:srgbClr val="00A268"/>
                </a:solidFill>
                <a:latin typeface="Times New Roman" pitchFamily="18" charset="0"/>
                <a:cs typeface="Times New Roman" pitchFamily="18" charset="0"/>
              </a:rPr>
              <a:t>Компания «Татнефть» - один из лидеров </a:t>
            </a:r>
          </a:p>
          <a:p>
            <a:pPr algn="ctr">
              <a:defRPr/>
            </a:pPr>
            <a:r>
              <a:rPr lang="ru-RU" sz="1300" b="1" kern="0" dirty="0">
                <a:solidFill>
                  <a:srgbClr val="00A268"/>
                </a:solidFill>
                <a:latin typeface="Times New Roman" pitchFamily="18" charset="0"/>
                <a:cs typeface="Times New Roman" pitchFamily="18" charset="0"/>
              </a:rPr>
              <a:t>по числу патентов по технологии теплового воздействия</a:t>
            </a:r>
          </a:p>
        </p:txBody>
      </p:sp>
      <p:sp>
        <p:nvSpPr>
          <p:cNvPr id="32" name="Заголовок 1"/>
          <p:cNvSpPr txBox="1">
            <a:spLocks/>
          </p:cNvSpPr>
          <p:nvPr/>
        </p:nvSpPr>
        <p:spPr bwMode="auto">
          <a:xfrm>
            <a:off x="6978048" y="6393541"/>
            <a:ext cx="3689953" cy="384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Pragmatica" pitchFamily="2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Pragmatica" pitchFamily="2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Pragmatica" pitchFamily="2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Pragmatica" pitchFamily="2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Pragmatica" pitchFamily="2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ru-RU" sz="1000" b="0" dirty="0">
                <a:solidFill>
                  <a:srgbClr val="000000"/>
                </a:solidFill>
                <a:latin typeface="Arial" charset="0"/>
                <a:cs typeface="Arial" pitchFamily="34" charset="0"/>
              </a:rPr>
              <a:t>Кроме того, </a:t>
            </a:r>
            <a:r>
              <a:rPr lang="ru-RU" sz="1000" b="0" dirty="0">
                <a:solidFill>
                  <a:srgbClr val="FF0000"/>
                </a:solidFill>
                <a:latin typeface="Arial" charset="0"/>
                <a:cs typeface="Arial" pitchFamily="34" charset="0"/>
              </a:rPr>
              <a:t>2</a:t>
            </a:r>
            <a:r>
              <a:rPr lang="ru-RU" sz="1000" b="0" dirty="0">
                <a:solidFill>
                  <a:srgbClr val="000000"/>
                </a:solidFill>
                <a:latin typeface="Arial" charset="0"/>
                <a:cs typeface="Arial" pitchFamily="34" charset="0"/>
              </a:rPr>
              <a:t> зарубежных патента  (Канады и Ирана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528048" y="908721"/>
            <a:ext cx="389549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300" b="1" kern="0" dirty="0">
                <a:solidFill>
                  <a:srgbClr val="00A268"/>
                </a:solidFill>
                <a:latin typeface="Times New Roman" pitchFamily="18" charset="0"/>
                <a:cs typeface="Times New Roman" pitchFamily="18" charset="0"/>
              </a:rPr>
              <a:t>Динамика роста числа объектов интеллектуальной собственности в области СВН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065" y="4043884"/>
            <a:ext cx="4287912" cy="2697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985" y="4365104"/>
            <a:ext cx="1613753" cy="20108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4056" y="4365105"/>
            <a:ext cx="3048448" cy="1920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4" name="TextBox 103"/>
          <p:cNvSpPr txBox="1"/>
          <p:nvPr/>
        </p:nvSpPr>
        <p:spPr>
          <a:xfrm>
            <a:off x="1013702" y="3714854"/>
            <a:ext cx="504056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300" b="1" kern="0" dirty="0">
                <a:solidFill>
                  <a:srgbClr val="00A268"/>
                </a:solidFill>
                <a:latin typeface="Times New Roman" pitchFamily="18" charset="0"/>
                <a:cs typeface="Times New Roman" pitchFamily="18" charset="0"/>
              </a:rPr>
              <a:t>Динамика результативности технологий</a:t>
            </a:r>
          </a:p>
        </p:txBody>
      </p:sp>
      <p:pic>
        <p:nvPicPr>
          <p:cNvPr id="12" name="Picture 2" descr="C:\Users\garifullinMZ\Desktop\Презентации\фото СВН\18-19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544" y="1133606"/>
            <a:ext cx="3670618" cy="250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76981" y="0"/>
            <a:ext cx="755650" cy="981075"/>
          </a:xfrm>
        </p:spPr>
        <p:txBody>
          <a:bodyPr/>
          <a:lstStyle/>
          <a:p>
            <a:pPr>
              <a:defRPr/>
            </a:pPr>
            <a:fld id="{43C0CCE0-3575-4A6D-B5A2-255098647C2B}" type="slidenum">
              <a:rPr lang="ru-RU" sz="3200" smtClean="0">
                <a:solidFill>
                  <a:srgbClr val="FFFFFF"/>
                </a:solidFill>
              </a:rPr>
              <a:pPr>
                <a:defRPr/>
              </a:pPr>
              <a:t>9</a:t>
            </a:fld>
            <a:endParaRPr lang="ru-RU" sz="3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30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7_TATNEFT_new_style_short">
  <a:themeElements>
    <a:clrScheme name="TATNEFT_new_style_short 1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26A"/>
      </a:accent1>
      <a:accent2>
        <a:srgbClr val="DE4040"/>
      </a:accent2>
      <a:accent3>
        <a:srgbClr val="FFFFFF"/>
      </a:accent3>
      <a:accent4>
        <a:srgbClr val="000000"/>
      </a:accent4>
      <a:accent5>
        <a:srgbClr val="AACEB9"/>
      </a:accent5>
      <a:accent6>
        <a:srgbClr val="C93939"/>
      </a:accent6>
      <a:hlink>
        <a:srgbClr val="00A26A"/>
      </a:hlink>
      <a:folHlink>
        <a:srgbClr val="8C8C8C"/>
      </a:folHlink>
    </a:clrScheme>
    <a:fontScheme name="TATNEFT_new_style_sh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NEFT_new_style_sho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8C8C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8_TATNEFT_new_style_short">
  <a:themeElements>
    <a:clrScheme name="TATNEFT_new_style_short 1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26A"/>
      </a:accent1>
      <a:accent2>
        <a:srgbClr val="DE4040"/>
      </a:accent2>
      <a:accent3>
        <a:srgbClr val="FFFFFF"/>
      </a:accent3>
      <a:accent4>
        <a:srgbClr val="000000"/>
      </a:accent4>
      <a:accent5>
        <a:srgbClr val="AACEB9"/>
      </a:accent5>
      <a:accent6>
        <a:srgbClr val="C93939"/>
      </a:accent6>
      <a:hlink>
        <a:srgbClr val="00A26A"/>
      </a:hlink>
      <a:folHlink>
        <a:srgbClr val="8C8C8C"/>
      </a:folHlink>
    </a:clrScheme>
    <a:fontScheme name="TATNEFT_new_style_sh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NEFT_new_style_sho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8C8C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9_TATNEFT_new_style_short">
  <a:themeElements>
    <a:clrScheme name="TATNEFT_new_style_short 1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26A"/>
      </a:accent1>
      <a:accent2>
        <a:srgbClr val="DE4040"/>
      </a:accent2>
      <a:accent3>
        <a:srgbClr val="FFFFFF"/>
      </a:accent3>
      <a:accent4>
        <a:srgbClr val="000000"/>
      </a:accent4>
      <a:accent5>
        <a:srgbClr val="AACEB9"/>
      </a:accent5>
      <a:accent6>
        <a:srgbClr val="C93939"/>
      </a:accent6>
      <a:hlink>
        <a:srgbClr val="00A26A"/>
      </a:hlink>
      <a:folHlink>
        <a:srgbClr val="8C8C8C"/>
      </a:folHlink>
    </a:clrScheme>
    <a:fontScheme name="TATNEFT_new_style_sh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NEFT_new_style_sho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8C8C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5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0_TATNEFT_new_style_short">
  <a:themeElements>
    <a:clrScheme name="TATNEFT_new_style_short 1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26A"/>
      </a:accent1>
      <a:accent2>
        <a:srgbClr val="DE4040"/>
      </a:accent2>
      <a:accent3>
        <a:srgbClr val="FFFFFF"/>
      </a:accent3>
      <a:accent4>
        <a:srgbClr val="000000"/>
      </a:accent4>
      <a:accent5>
        <a:srgbClr val="AACEB9"/>
      </a:accent5>
      <a:accent6>
        <a:srgbClr val="C93939"/>
      </a:accent6>
      <a:hlink>
        <a:srgbClr val="00A26A"/>
      </a:hlink>
      <a:folHlink>
        <a:srgbClr val="8C8C8C"/>
      </a:folHlink>
    </a:clrScheme>
    <a:fontScheme name="TATNEFT_new_style_sh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NEFT_new_style_sho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8C8C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1_TATNEFT_new_style_short">
  <a:themeElements>
    <a:clrScheme name="TATNEFT_new_style_short 1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26A"/>
      </a:accent1>
      <a:accent2>
        <a:srgbClr val="DE4040"/>
      </a:accent2>
      <a:accent3>
        <a:srgbClr val="FFFFFF"/>
      </a:accent3>
      <a:accent4>
        <a:srgbClr val="000000"/>
      </a:accent4>
      <a:accent5>
        <a:srgbClr val="AACEB9"/>
      </a:accent5>
      <a:accent6>
        <a:srgbClr val="C93939"/>
      </a:accent6>
      <a:hlink>
        <a:srgbClr val="00A26A"/>
      </a:hlink>
      <a:folHlink>
        <a:srgbClr val="8C8C8C"/>
      </a:folHlink>
    </a:clrScheme>
    <a:fontScheme name="TATNEFT_new_style_sh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NEFT_new_style_sho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8C8C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7_Оформление по умолчанию">
  <a:themeElements>
    <a:clrScheme name="TN_1">
      <a:dk1>
        <a:srgbClr val="000000"/>
      </a:dk1>
      <a:lt1>
        <a:srgbClr val="FFFFFF"/>
      </a:lt1>
      <a:dk2>
        <a:srgbClr val="177B57"/>
      </a:dk2>
      <a:lt2>
        <a:srgbClr val="A5A5A5"/>
      </a:lt2>
      <a:accent1>
        <a:srgbClr val="808082"/>
      </a:accent1>
      <a:accent2>
        <a:srgbClr val="F03C46"/>
      </a:accent2>
      <a:accent3>
        <a:srgbClr val="B2B2B2"/>
      </a:accent3>
      <a:accent4>
        <a:srgbClr val="008756"/>
      </a:accent4>
      <a:accent5>
        <a:srgbClr val="0B3D2B"/>
      </a:accent5>
      <a:accent6>
        <a:srgbClr val="00B473"/>
      </a:accent6>
      <a:hlink>
        <a:srgbClr val="5BAD82"/>
      </a:hlink>
      <a:folHlink>
        <a:srgbClr val="8EC6A1"/>
      </a:folHlink>
    </a:clrScheme>
    <a:fontScheme name="Оформление по умолчанию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8_Оформление по умолчанию">
  <a:themeElements>
    <a:clrScheme name="TN_1">
      <a:dk1>
        <a:srgbClr val="000000"/>
      </a:dk1>
      <a:lt1>
        <a:srgbClr val="FFFFFF"/>
      </a:lt1>
      <a:dk2>
        <a:srgbClr val="177B57"/>
      </a:dk2>
      <a:lt2>
        <a:srgbClr val="A5A5A5"/>
      </a:lt2>
      <a:accent1>
        <a:srgbClr val="808082"/>
      </a:accent1>
      <a:accent2>
        <a:srgbClr val="F03C46"/>
      </a:accent2>
      <a:accent3>
        <a:srgbClr val="B2B2B2"/>
      </a:accent3>
      <a:accent4>
        <a:srgbClr val="008756"/>
      </a:accent4>
      <a:accent5>
        <a:srgbClr val="0B3D2B"/>
      </a:accent5>
      <a:accent6>
        <a:srgbClr val="00B473"/>
      </a:accent6>
      <a:hlink>
        <a:srgbClr val="5BAD82"/>
      </a:hlink>
      <a:folHlink>
        <a:srgbClr val="8EC6A1"/>
      </a:folHlink>
    </a:clrScheme>
    <a:fontScheme name="Оформление по умолчанию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9_Оформление по умолчанию">
  <a:themeElements>
    <a:clrScheme name="TN_1">
      <a:dk1>
        <a:srgbClr val="000000"/>
      </a:dk1>
      <a:lt1>
        <a:srgbClr val="FFFFFF"/>
      </a:lt1>
      <a:dk2>
        <a:srgbClr val="177B57"/>
      </a:dk2>
      <a:lt2>
        <a:srgbClr val="A5A5A5"/>
      </a:lt2>
      <a:accent1>
        <a:srgbClr val="808082"/>
      </a:accent1>
      <a:accent2>
        <a:srgbClr val="F03C46"/>
      </a:accent2>
      <a:accent3>
        <a:srgbClr val="B2B2B2"/>
      </a:accent3>
      <a:accent4>
        <a:srgbClr val="008756"/>
      </a:accent4>
      <a:accent5>
        <a:srgbClr val="0B3D2B"/>
      </a:accent5>
      <a:accent6>
        <a:srgbClr val="00B473"/>
      </a:accent6>
      <a:hlink>
        <a:srgbClr val="5BAD82"/>
      </a:hlink>
      <a:folHlink>
        <a:srgbClr val="8EC6A1"/>
      </a:folHlink>
    </a:clrScheme>
    <a:fontScheme name="Оформление по умолчанию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TATNEFT_new_style_short">
  <a:themeElements>
    <a:clrScheme name="TATNEFT_new_style_short 1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26A"/>
      </a:accent1>
      <a:accent2>
        <a:srgbClr val="DE4040"/>
      </a:accent2>
      <a:accent3>
        <a:srgbClr val="FFFFFF"/>
      </a:accent3>
      <a:accent4>
        <a:srgbClr val="000000"/>
      </a:accent4>
      <a:accent5>
        <a:srgbClr val="AACEB9"/>
      </a:accent5>
      <a:accent6>
        <a:srgbClr val="C93939"/>
      </a:accent6>
      <a:hlink>
        <a:srgbClr val="00A26A"/>
      </a:hlink>
      <a:folHlink>
        <a:srgbClr val="8C8C8C"/>
      </a:folHlink>
    </a:clrScheme>
    <a:fontScheme name="TATNEFT_new_style_sh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NEFT_new_style_sho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8C8C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2_TATNEFT_new_style_short">
  <a:themeElements>
    <a:clrScheme name="TATNEFT_new_style_short 1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26A"/>
      </a:accent1>
      <a:accent2>
        <a:srgbClr val="DE4040"/>
      </a:accent2>
      <a:accent3>
        <a:srgbClr val="FFFFFF"/>
      </a:accent3>
      <a:accent4>
        <a:srgbClr val="000000"/>
      </a:accent4>
      <a:accent5>
        <a:srgbClr val="AACEB9"/>
      </a:accent5>
      <a:accent6>
        <a:srgbClr val="C93939"/>
      </a:accent6>
      <a:hlink>
        <a:srgbClr val="00A26A"/>
      </a:hlink>
      <a:folHlink>
        <a:srgbClr val="8C8C8C"/>
      </a:folHlink>
    </a:clrScheme>
    <a:fontScheme name="TATNEFT_new_style_sh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NEFT_new_style_sho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8C8C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ragmatica MediumITT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ragmatica MediumITT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agmaticaITT"/>
        <a:ea typeface=""/>
        <a:cs typeface=""/>
      </a:majorFont>
      <a:minorFont>
        <a:latin typeface="PragmaticaIT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TATNEFT_new_style_short">
  <a:themeElements>
    <a:clrScheme name="TATNEFT_new_style_short 1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26A"/>
      </a:accent1>
      <a:accent2>
        <a:srgbClr val="DE4040"/>
      </a:accent2>
      <a:accent3>
        <a:srgbClr val="FFFFFF"/>
      </a:accent3>
      <a:accent4>
        <a:srgbClr val="000000"/>
      </a:accent4>
      <a:accent5>
        <a:srgbClr val="AACEB9"/>
      </a:accent5>
      <a:accent6>
        <a:srgbClr val="C93939"/>
      </a:accent6>
      <a:hlink>
        <a:srgbClr val="00A26A"/>
      </a:hlink>
      <a:folHlink>
        <a:srgbClr val="8C8C8C"/>
      </a:folHlink>
    </a:clrScheme>
    <a:fontScheme name="TATNEFT_new_style_sh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NEFT_new_style_sho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8C8C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TATNEFT_new_style_short">
  <a:themeElements>
    <a:clrScheme name="TATNEFT_new_style_short 1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26A"/>
      </a:accent1>
      <a:accent2>
        <a:srgbClr val="DE4040"/>
      </a:accent2>
      <a:accent3>
        <a:srgbClr val="FFFFFF"/>
      </a:accent3>
      <a:accent4>
        <a:srgbClr val="000000"/>
      </a:accent4>
      <a:accent5>
        <a:srgbClr val="AACEB9"/>
      </a:accent5>
      <a:accent6>
        <a:srgbClr val="C93939"/>
      </a:accent6>
      <a:hlink>
        <a:srgbClr val="00A26A"/>
      </a:hlink>
      <a:folHlink>
        <a:srgbClr val="8C8C8C"/>
      </a:folHlink>
    </a:clrScheme>
    <a:fontScheme name="TATNEFT_new_style_sh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NEFT_new_style_sho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8C8C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TATNEFT_new_style_short">
  <a:themeElements>
    <a:clrScheme name="TATNEFT_new_style_short 1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26A"/>
      </a:accent1>
      <a:accent2>
        <a:srgbClr val="DE4040"/>
      </a:accent2>
      <a:accent3>
        <a:srgbClr val="FFFFFF"/>
      </a:accent3>
      <a:accent4>
        <a:srgbClr val="000000"/>
      </a:accent4>
      <a:accent5>
        <a:srgbClr val="AACEB9"/>
      </a:accent5>
      <a:accent6>
        <a:srgbClr val="C93939"/>
      </a:accent6>
      <a:hlink>
        <a:srgbClr val="00A26A"/>
      </a:hlink>
      <a:folHlink>
        <a:srgbClr val="8C8C8C"/>
      </a:folHlink>
    </a:clrScheme>
    <a:fontScheme name="TATNEFT_new_style_sh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NEFT_new_style_sho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8C8C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6_TATNEFT_new_style_short">
  <a:themeElements>
    <a:clrScheme name="TATNEFT_new_style_short 1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26A"/>
      </a:accent1>
      <a:accent2>
        <a:srgbClr val="DE4040"/>
      </a:accent2>
      <a:accent3>
        <a:srgbClr val="FFFFFF"/>
      </a:accent3>
      <a:accent4>
        <a:srgbClr val="000000"/>
      </a:accent4>
      <a:accent5>
        <a:srgbClr val="AACEB9"/>
      </a:accent5>
      <a:accent6>
        <a:srgbClr val="C93939"/>
      </a:accent6>
      <a:hlink>
        <a:srgbClr val="00A26A"/>
      </a:hlink>
      <a:folHlink>
        <a:srgbClr val="8C8C8C"/>
      </a:folHlink>
    </a:clrScheme>
    <a:fontScheme name="TATNEFT_new_style_shor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NEFT_new_style_sho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ATNEFT_new_style_shor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NEFT_new_style_short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26A"/>
        </a:accent1>
        <a:accent2>
          <a:srgbClr val="DE4040"/>
        </a:accent2>
        <a:accent3>
          <a:srgbClr val="FFFFFF"/>
        </a:accent3>
        <a:accent4>
          <a:srgbClr val="000000"/>
        </a:accent4>
        <a:accent5>
          <a:srgbClr val="AACEB9"/>
        </a:accent5>
        <a:accent6>
          <a:srgbClr val="C93939"/>
        </a:accent6>
        <a:hlink>
          <a:srgbClr val="00A26A"/>
        </a:hlink>
        <a:folHlink>
          <a:srgbClr val="8C8C8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42</TotalTime>
  <Words>2707</Words>
  <Application>Microsoft Office PowerPoint</Application>
  <PresentationFormat>Широкоэкранный</PresentationFormat>
  <Paragraphs>613</Paragraphs>
  <Slides>24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4</vt:i4>
      </vt:variant>
    </vt:vector>
  </HeadingPairs>
  <TitlesOfParts>
    <vt:vector size="55" baseType="lpstr">
      <vt:lpstr>Arial</vt:lpstr>
      <vt:lpstr>Calibri</vt:lpstr>
      <vt:lpstr>Pragmatica</vt:lpstr>
      <vt:lpstr>Pragmatica MediumITT</vt:lpstr>
      <vt:lpstr>PragmaticaITT</vt:lpstr>
      <vt:lpstr>Times New Roman</vt:lpstr>
      <vt:lpstr>Trebuchet MS</vt:lpstr>
      <vt:lpstr>Wingdings</vt:lpstr>
      <vt:lpstr>Оформление по умолчанию</vt:lpstr>
      <vt:lpstr>1_Оформление по умолчанию</vt:lpstr>
      <vt:lpstr>2_Оформление по умолчанию</vt:lpstr>
      <vt:lpstr>3_Оформление по умолчанию</vt:lpstr>
      <vt:lpstr>4_Оформление по умолчанию</vt:lpstr>
      <vt:lpstr>1_TATNEFT_new_style_short</vt:lpstr>
      <vt:lpstr>3_TATNEFT_new_style_short</vt:lpstr>
      <vt:lpstr>5_TATNEFT_new_style_short</vt:lpstr>
      <vt:lpstr>6_TATNEFT_new_style_short</vt:lpstr>
      <vt:lpstr>7_TATNEFT_new_style_short</vt:lpstr>
      <vt:lpstr>8_TATNEFT_new_style_short</vt:lpstr>
      <vt:lpstr>9_TATNEFT_new_style_short</vt:lpstr>
      <vt:lpstr>5_Оформление по умолчанию</vt:lpstr>
      <vt:lpstr>6_Оформление по умолчанию</vt:lpstr>
      <vt:lpstr>10_TATNEFT_new_style_short</vt:lpstr>
      <vt:lpstr>11_TATNEFT_new_style_short</vt:lpstr>
      <vt:lpstr>7_Оформление по умолчанию</vt:lpstr>
      <vt:lpstr>8_Оформление по умолчанию</vt:lpstr>
      <vt:lpstr>9_Оформление по умолчанию</vt:lpstr>
      <vt:lpstr>TATNEFT_new_style_short</vt:lpstr>
      <vt:lpstr>2_TATNEFT_new_style_short</vt:lpstr>
      <vt:lpstr>think-cell Slide</vt:lpstr>
      <vt:lpstr>CorelDRAW</vt:lpstr>
      <vt:lpstr>Презентация PowerPoint</vt:lpstr>
      <vt:lpstr>Состояние выработанности запасов в Р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нновации Компании «Татнефть»  в развитии и внедрении технологий добычи СВН</vt:lpstr>
      <vt:lpstr>Презентация PowerPoint</vt:lpstr>
      <vt:lpstr>Снижение энергозатрат за счет применения термогелевой пробки</vt:lpstr>
      <vt:lpstr>Презентация PowerPoint</vt:lpstr>
      <vt:lpstr>Презентация PowerPoint</vt:lpstr>
      <vt:lpstr>Мордово-Кармальское месторождение СВН</vt:lpstr>
      <vt:lpstr>Презентация PowerPoint</vt:lpstr>
      <vt:lpstr>Презентация PowerPoint</vt:lpstr>
      <vt:lpstr>Презентация PowerPoint</vt:lpstr>
      <vt:lpstr>Презентация PowerPoint</vt:lpstr>
      <vt:lpstr>Эффективность  технологий добычи нетрадиционной нефти</vt:lpstr>
      <vt:lpstr>Пути изучения ТРИЗ: создания новых технологий освоения доманиковых отложений, разработки карбонатных пород, с залежами СВН, малых толщин</vt:lpstr>
      <vt:lpstr>Презентация PowerPoint</vt:lpstr>
      <vt:lpstr>Презентация PowerPoint</vt:lpstr>
      <vt:lpstr>Программа работ на полигонах ПАО «Татнефть»  </vt:lpstr>
      <vt:lpstr>Презентация PowerPoint</vt:lpstr>
    </vt:vector>
  </TitlesOfParts>
  <Company>ССОКТ г. Бугульма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етрова Гузель Инзировна</dc:creator>
  <cp:lastModifiedBy>Махлеева Татьяна Александровна</cp:lastModifiedBy>
  <cp:revision>112</cp:revision>
  <cp:lastPrinted>2018-04-16T10:24:30Z</cp:lastPrinted>
  <dcterms:created xsi:type="dcterms:W3CDTF">2018-04-13T05:59:21Z</dcterms:created>
  <dcterms:modified xsi:type="dcterms:W3CDTF">2018-04-16T10:27:42Z</dcterms:modified>
</cp:coreProperties>
</file>